
<file path=[Content_Types].xml><?xml version="1.0" encoding="utf-8"?>
<Types xmlns="http://schemas.openxmlformats.org/package/2006/content-types"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 autoCompressPictures="0">
  <p:sldMasterIdLst>
    <p:sldMasterId id="2147483660" r:id="rId4"/>
  </p:sldMasterIdLst>
  <p:notesMasterIdLst>
    <p:notesMasterId r:id="rId6"/>
  </p:notesMasterIdLst>
  <p:sldIdLst>
    <p:sldId id="634" r:id="rId5"/>
  </p:sldIdLst>
  <p:sldSz cx="9144000" cy="6858000" type="screen4x3"/>
  <p:notesSz cx="7010400" cy="9296400"/>
  <p:embeddedFontLst>
    <p:embeddedFont>
      <p:font typeface="Calibri" panose="020F0502020204030204" pitchFamily="34" charset="0"/>
      <p:regular r:id="rId7"/>
      <p:bold r:id="rId8"/>
      <p:italic r:id="rId9"/>
      <p:boldItalic r:id="rId10"/>
    </p:embeddedFont>
    <p:embeddedFont>
      <p:font typeface="Century Gothic" panose="020B0502020202020204" pitchFamily="34" charset="0"/>
      <p:regular r:id="rId11"/>
      <p:bold r:id="rId12"/>
      <p:italic r:id="rId13"/>
      <p:boldItalic r:id="rId14"/>
    </p:embeddedFont>
  </p:embeddedFontLst>
  <p:custDataLst>
    <p:tags r:id="rId15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360" userDrawn="1">
          <p15:clr>
            <a:srgbClr val="A4A3A4"/>
          </p15:clr>
        </p15:guide>
        <p15:guide id="2" pos="312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273" autoAdjust="0"/>
    <p:restoredTop sz="96370" autoAdjust="0"/>
  </p:normalViewPr>
  <p:slideViewPr>
    <p:cSldViewPr snapToGrid="0" snapToObjects="1">
      <p:cViewPr varScale="1">
        <p:scale>
          <a:sx n="162" d="100"/>
          <a:sy n="162" d="100"/>
        </p:scale>
        <p:origin x="1710" y="144"/>
      </p:cViewPr>
      <p:guideLst>
        <p:guide orient="horz" pos="3360"/>
        <p:guide pos="312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2.fntdata"/><Relationship Id="rId13" Type="http://schemas.openxmlformats.org/officeDocument/2006/relationships/font" Target="fonts/font7.fntdata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font" Target="fonts/font1.fntdata"/><Relationship Id="rId12" Type="http://schemas.openxmlformats.org/officeDocument/2006/relationships/font" Target="fonts/font6.fntdata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font" Target="fonts/font5.fntdata"/><Relationship Id="rId5" Type="http://schemas.openxmlformats.org/officeDocument/2006/relationships/slide" Target="slides/slide1.xml"/><Relationship Id="rId15" Type="http://schemas.openxmlformats.org/officeDocument/2006/relationships/tags" Target="tags/tag1.xml"/><Relationship Id="rId10" Type="http://schemas.openxmlformats.org/officeDocument/2006/relationships/font" Target="fonts/font4.fntdata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font" Target="fonts/font3.fntdata"/><Relationship Id="rId14" Type="http://schemas.openxmlformats.org/officeDocument/2006/relationships/font" Target="fonts/font8.fntdata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avid Goldstein" userId="cd5c4a1a-a9bf-4286-bd69-5a3caeb1be8e" providerId="ADAL" clId="{06BD130F-C0CB-42E4-B662-A2E53316CE56}"/>
    <pc:docChg chg="custSel modSld">
      <pc:chgData name="David Goldstein" userId="cd5c4a1a-a9bf-4286-bd69-5a3caeb1be8e" providerId="ADAL" clId="{06BD130F-C0CB-42E4-B662-A2E53316CE56}" dt="2020-03-12T15:28:12.129" v="259" actId="1037"/>
      <pc:docMkLst>
        <pc:docMk/>
      </pc:docMkLst>
      <pc:sldChg chg="modSp">
        <pc:chgData name="David Goldstein" userId="cd5c4a1a-a9bf-4286-bd69-5a3caeb1be8e" providerId="ADAL" clId="{06BD130F-C0CB-42E4-B662-A2E53316CE56}" dt="2020-03-12T15:28:12.129" v="259" actId="1037"/>
        <pc:sldMkLst>
          <pc:docMk/>
          <pc:sldMk cId="2369148703" sldId="634"/>
        </pc:sldMkLst>
        <pc:spChg chg="mod">
          <ac:chgData name="David Goldstein" userId="cd5c4a1a-a9bf-4286-bd69-5a3caeb1be8e" providerId="ADAL" clId="{06BD130F-C0CB-42E4-B662-A2E53316CE56}" dt="2020-03-12T15:28:12.129" v="259" actId="1037"/>
          <ac:spMkLst>
            <pc:docMk/>
            <pc:sldMk cId="2369148703" sldId="634"/>
            <ac:spMk id="2" creationId="{21024659-97CE-4DBC-8A90-274D9084DE32}"/>
          </ac:spMkLst>
        </pc:spChg>
        <pc:spChg chg="mod">
          <ac:chgData name="David Goldstein" userId="cd5c4a1a-a9bf-4286-bd69-5a3caeb1be8e" providerId="ADAL" clId="{06BD130F-C0CB-42E4-B662-A2E53316CE56}" dt="2020-03-12T15:28:12.129" v="259" actId="1037"/>
          <ac:spMkLst>
            <pc:docMk/>
            <pc:sldMk cId="2369148703" sldId="634"/>
            <ac:spMk id="4" creationId="{7F0B1848-BF22-4DC8-93E4-49DC5E04E32D}"/>
          </ac:spMkLst>
        </pc:spChg>
        <pc:spChg chg="mod">
          <ac:chgData name="David Goldstein" userId="cd5c4a1a-a9bf-4286-bd69-5a3caeb1be8e" providerId="ADAL" clId="{06BD130F-C0CB-42E4-B662-A2E53316CE56}" dt="2020-03-12T15:28:03.354" v="256" actId="1037"/>
          <ac:spMkLst>
            <pc:docMk/>
            <pc:sldMk cId="2369148703" sldId="634"/>
            <ac:spMk id="10" creationId="{0A05ABFC-C3CB-442A-B690-A56131434CB8}"/>
          </ac:spMkLst>
        </pc:spChg>
        <pc:spChg chg="mod">
          <ac:chgData name="David Goldstein" userId="cd5c4a1a-a9bf-4286-bd69-5a3caeb1be8e" providerId="ADAL" clId="{06BD130F-C0CB-42E4-B662-A2E53316CE56}" dt="2020-03-12T14:26:56.256" v="51" actId="20577"/>
          <ac:spMkLst>
            <pc:docMk/>
            <pc:sldMk cId="2369148703" sldId="634"/>
            <ac:spMk id="11" creationId="{9ED2EDD9-E367-4784-B3E8-3C5DF2E0AE61}"/>
          </ac:spMkLst>
        </pc:spChg>
      </pc:sldChg>
    </pc:docChg>
  </pc:docChgLst>
  <pc:docChgLst>
    <pc:chgData name="David Goldstein" userId="cd5c4a1a-a9bf-4286-bd69-5a3caeb1be8e" providerId="ADAL" clId="{C55D0152-85D4-4B99-9999-C79E80A19F7F}"/>
    <pc:docChg chg="custSel modSld">
      <pc:chgData name="David Goldstein" userId="cd5c4a1a-a9bf-4286-bd69-5a3caeb1be8e" providerId="ADAL" clId="{C55D0152-85D4-4B99-9999-C79E80A19F7F}" dt="2020-03-12T12:02:58.709" v="76"/>
      <pc:docMkLst>
        <pc:docMk/>
      </pc:docMkLst>
      <pc:sldChg chg="addSp delSp modSp">
        <pc:chgData name="David Goldstein" userId="cd5c4a1a-a9bf-4286-bd69-5a3caeb1be8e" providerId="ADAL" clId="{C55D0152-85D4-4B99-9999-C79E80A19F7F}" dt="2020-03-12T12:02:58.709" v="76"/>
        <pc:sldMkLst>
          <pc:docMk/>
          <pc:sldMk cId="2369148703" sldId="634"/>
        </pc:sldMkLst>
        <pc:spChg chg="mod">
          <ac:chgData name="David Goldstein" userId="cd5c4a1a-a9bf-4286-bd69-5a3caeb1be8e" providerId="ADAL" clId="{C55D0152-85D4-4B99-9999-C79E80A19F7F}" dt="2020-03-11T21:32:39.740" v="20" actId="20577"/>
          <ac:spMkLst>
            <pc:docMk/>
            <pc:sldMk cId="2369148703" sldId="634"/>
            <ac:spMk id="2" creationId="{21024659-97CE-4DBC-8A90-274D9084DE32}"/>
          </ac:spMkLst>
        </pc:spChg>
        <pc:spChg chg="add mod">
          <ac:chgData name="David Goldstein" userId="cd5c4a1a-a9bf-4286-bd69-5a3caeb1be8e" providerId="ADAL" clId="{C55D0152-85D4-4B99-9999-C79E80A19F7F}" dt="2020-03-11T21:32:57.659" v="31"/>
          <ac:spMkLst>
            <pc:docMk/>
            <pc:sldMk cId="2369148703" sldId="634"/>
            <ac:spMk id="3" creationId="{86E9DF75-1BE5-43F3-B844-AD2AC1579732}"/>
          </ac:spMkLst>
        </pc:spChg>
        <pc:spChg chg="del">
          <ac:chgData name="David Goldstein" userId="cd5c4a1a-a9bf-4286-bd69-5a3caeb1be8e" providerId="ADAL" clId="{C55D0152-85D4-4B99-9999-C79E80A19F7F}" dt="2020-03-11T21:32:49.182" v="21" actId="478"/>
          <ac:spMkLst>
            <pc:docMk/>
            <pc:sldMk cId="2369148703" sldId="634"/>
            <ac:spMk id="5" creationId="{212BF945-0AE8-4778-9D96-EF667A6631AE}"/>
          </ac:spMkLst>
        </pc:spChg>
        <pc:spChg chg="add mod">
          <ac:chgData name="David Goldstein" userId="cd5c4a1a-a9bf-4286-bd69-5a3caeb1be8e" providerId="ADAL" clId="{C55D0152-85D4-4B99-9999-C79E80A19F7F}" dt="2020-03-12T12:02:58.709" v="76"/>
          <ac:spMkLst>
            <pc:docMk/>
            <pc:sldMk cId="2369148703" sldId="634"/>
            <ac:spMk id="10" creationId="{0A05ABFC-C3CB-442A-B690-A56131434CB8}"/>
          </ac:spMkLst>
        </pc:spChg>
        <pc:grpChg chg="add del mod">
          <ac:chgData name="David Goldstein" userId="cd5c4a1a-a9bf-4286-bd69-5a3caeb1be8e" providerId="ADAL" clId="{C55D0152-85D4-4B99-9999-C79E80A19F7F}" dt="2020-03-11T21:32:58.863" v="41"/>
          <ac:grpSpMkLst>
            <pc:docMk/>
            <pc:sldMk cId="2369148703" sldId="634"/>
            <ac:grpSpMk id="9" creationId="{D22D730F-A2A5-445A-A881-A17E8CB2EC2D}"/>
          </ac:grpSpMkLst>
        </pc:grpChg>
        <pc:picChg chg="add mod ord">
          <ac:chgData name="David Goldstein" userId="cd5c4a1a-a9bf-4286-bd69-5a3caeb1be8e" providerId="ADAL" clId="{C55D0152-85D4-4B99-9999-C79E80A19F7F}" dt="2020-03-11T21:32:57.659" v="31"/>
          <ac:picMkLst>
            <pc:docMk/>
            <pc:sldMk cId="2369148703" sldId="634"/>
            <ac:picMk id="8" creationId="{816B56E5-EBE5-41EE-92DA-C1AACE773230}"/>
          </ac:picMkLst>
        </pc:pic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38627A6-089C-4457-9DA5-1BF9C860F4D9}" type="datetimeFigureOut">
              <a:rPr lang="en-US" smtClean="0"/>
              <a:t>3/12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414463" y="1162050"/>
            <a:ext cx="4181475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73575"/>
            <a:ext cx="5607050" cy="366077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338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34E2E99-8E67-4C2A-BA9C-90115A9C85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6059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371600"/>
            <a:ext cx="7848600" cy="1927225"/>
          </a:xfrm>
        </p:spPr>
        <p:txBody>
          <a:bodyPr anchor="b">
            <a:noAutofit/>
          </a:bodyPr>
          <a:lstStyle>
            <a:lvl1pPr>
              <a:defRPr sz="5400" cap="all" baseline="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3505200"/>
            <a:ext cx="6400800" cy="1752600"/>
          </a:xfrm>
        </p:spPr>
        <p:txBody>
          <a:bodyPr/>
          <a:lstStyle>
            <a:lvl1pPr marL="0" indent="0" algn="l">
              <a:buNone/>
              <a:defRPr>
                <a:solidFill>
                  <a:schemeClr val="accent5">
                    <a:lumMod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cxnSp>
        <p:nvCxnSpPr>
          <p:cNvPr id="8" name="Straight Connector 7"/>
          <p:cNvCxnSpPr/>
          <p:nvPr/>
        </p:nvCxnSpPr>
        <p:spPr>
          <a:xfrm>
            <a:off x="685800" y="3398520"/>
            <a:ext cx="7848600" cy="1588"/>
          </a:xfrm>
          <a:prstGeom prst="line">
            <a:avLst/>
          </a:prstGeom>
          <a:ln w="19050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399243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Century Gothic" panose="020B0502020202020204" pitchFamily="34" charset="0"/>
              </a:defRPr>
            </a:lvl1pPr>
            <a:lvl2pPr>
              <a:defRPr>
                <a:latin typeface="Century Gothic" panose="020B0502020202020204" pitchFamily="34" charset="0"/>
              </a:defRPr>
            </a:lvl2pPr>
            <a:lvl3pPr>
              <a:defRPr>
                <a:latin typeface="Century Gothic" panose="020B0502020202020204" pitchFamily="34" charset="0"/>
              </a:defRPr>
            </a:lvl3pPr>
            <a:lvl4pPr>
              <a:defRPr>
                <a:latin typeface="Century Gothic" panose="020B0502020202020204" pitchFamily="34" charset="0"/>
              </a:defRPr>
            </a:lvl4pPr>
            <a:lvl5pPr>
              <a:defRPr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0947A9-521A-4AFE-8C3B-59BE50CEA4DD}" type="slidenum">
              <a:rPr lang="en-US" smtClean="0">
                <a:solidFill>
                  <a:srgbClr val="292934">
                    <a:lumMod val="75000"/>
                    <a:lumOff val="25000"/>
                  </a:srgbClr>
                </a:solidFill>
              </a:rPr>
              <a:pPr/>
              <a:t>‹#›</a:t>
            </a:fld>
            <a:endParaRPr lang="en-US">
              <a:solidFill>
                <a:srgbClr val="292934">
                  <a:lumMod val="75000"/>
                  <a:lumOff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06781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81000"/>
            <a:ext cx="8229600" cy="990600"/>
          </a:xfrm>
        </p:spPr>
        <p:txBody>
          <a:bodyPr/>
          <a:lstStyle>
            <a:lvl1pPr>
              <a:defRPr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077200" y="6477000"/>
            <a:ext cx="1066800" cy="329184"/>
          </a:xfrm>
        </p:spPr>
        <p:txBody>
          <a:bodyPr/>
          <a:lstStyle>
            <a:lvl1pPr algn="ctr"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fld id="{F80947A9-521A-4AFE-8C3B-59BE50CEA4DD}" type="slidenum">
              <a:rPr lang="en-US" smtClean="0">
                <a:solidFill>
                  <a:srgbClr val="292934">
                    <a:lumMod val="75000"/>
                    <a:lumOff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92934">
                  <a:lumMod val="75000"/>
                  <a:lumOff val="25000"/>
                </a:srgbClr>
              </a:solidFill>
            </a:endParaRPr>
          </a:p>
        </p:txBody>
      </p:sp>
      <p:sp>
        <p:nvSpPr>
          <p:cNvPr id="7" name="Subtitle 2"/>
          <p:cNvSpPr>
            <a:spLocks noGrp="1"/>
          </p:cNvSpPr>
          <p:nvPr>
            <p:ph type="subTitle" idx="1"/>
          </p:nvPr>
        </p:nvSpPr>
        <p:spPr>
          <a:xfrm>
            <a:off x="457200" y="1371600"/>
            <a:ext cx="8229600" cy="685800"/>
          </a:xfrm>
        </p:spPr>
        <p:txBody>
          <a:bodyPr>
            <a:normAutofit/>
          </a:bodyPr>
          <a:lstStyle>
            <a:lvl1pPr marL="0" indent="0" algn="l">
              <a:buNone/>
              <a:defRPr sz="1800" i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211509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.png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0" y="220786"/>
            <a:ext cx="9144000" cy="2286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srgbClr val="FFFFFF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533400"/>
            <a:ext cx="8229600" cy="990600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876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924800" y="6400800"/>
            <a:ext cx="1066800" cy="3291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400" b="1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defTabSz="914400"/>
            <a:fld id="{F80947A9-521A-4AFE-8C3B-59BE50CEA4DD}" type="slidenum">
              <a:rPr lang="en-US" smtClean="0">
                <a:solidFill>
                  <a:srgbClr val="292934">
                    <a:lumMod val="75000"/>
                    <a:lumOff val="25000"/>
                  </a:srgbClr>
                </a:solidFill>
              </a:rPr>
              <a:pPr defTabSz="914400"/>
              <a:t>‹#›</a:t>
            </a:fld>
            <a:endParaRPr lang="en-US" dirty="0">
              <a:solidFill>
                <a:srgbClr val="292934">
                  <a:lumMod val="75000"/>
                  <a:lumOff val="25000"/>
                </a:srgbClr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88" t="21455" r="8519" b="27218"/>
          <a:stretch/>
        </p:blipFill>
        <p:spPr>
          <a:xfrm>
            <a:off x="6860627" y="36786"/>
            <a:ext cx="2207173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8585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4000" kern="1200" spc="-100" baseline="0">
          <a:solidFill>
            <a:schemeClr val="accent5">
              <a:lumMod val="75000"/>
            </a:schemeClr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spcBef>
          <a:spcPct val="20000"/>
        </a:spcBef>
        <a:buClr>
          <a:srgbClr val="2B303D"/>
        </a:buClr>
        <a:buSzPct val="85000"/>
        <a:buFont typeface="Arial" pitchFamily="34" charset="0"/>
        <a:buChar char="•"/>
        <a:defRPr sz="2400" kern="1200">
          <a:solidFill>
            <a:schemeClr val="accent5">
              <a:lumMod val="50000"/>
            </a:schemeClr>
          </a:solidFill>
          <a:latin typeface="Century Gothic" panose="020B0502020202020204" pitchFamily="34" charset="0"/>
          <a:ea typeface="+mn-ea"/>
          <a:cs typeface="+mn-cs"/>
        </a:defRPr>
      </a:lvl1pPr>
      <a:lvl2pPr marL="457200" indent="-182880" algn="l" defTabSz="914400" rtl="0" eaLnBrk="1" latinLnBrk="0" hangingPunct="1">
        <a:spcBef>
          <a:spcPct val="20000"/>
        </a:spcBef>
        <a:buClr>
          <a:srgbClr val="87A634"/>
        </a:buClr>
        <a:buSzPct val="85000"/>
        <a:buFont typeface="Arial" pitchFamily="34" charset="0"/>
        <a:buChar char="•"/>
        <a:defRPr sz="2000" kern="1200">
          <a:solidFill>
            <a:schemeClr val="accent5">
              <a:lumMod val="50000"/>
            </a:schemeClr>
          </a:solidFill>
          <a:latin typeface="Century Gothic" panose="020B0502020202020204" pitchFamily="34" charset="0"/>
          <a:ea typeface="+mn-ea"/>
          <a:cs typeface="+mn-cs"/>
        </a:defRPr>
      </a:lvl2pPr>
      <a:lvl3pPr marL="891540" indent="-342900" algn="l" defTabSz="914400" rtl="0" eaLnBrk="1" latinLnBrk="0" hangingPunct="1">
        <a:spcBef>
          <a:spcPct val="20000"/>
        </a:spcBef>
        <a:buClr>
          <a:srgbClr val="E88E4A"/>
        </a:buClr>
        <a:buSzPct val="90000"/>
        <a:buFont typeface="Arial" panose="020B0604020202020204" pitchFamily="34" charset="0"/>
        <a:buChar char="•"/>
        <a:defRPr sz="1800" kern="1200">
          <a:solidFill>
            <a:schemeClr val="accent5">
              <a:lumMod val="50000"/>
            </a:schemeClr>
          </a:solidFill>
          <a:latin typeface="Century Gothic" panose="020B0502020202020204" pitchFamily="34" charset="0"/>
          <a:ea typeface="+mn-ea"/>
          <a:cs typeface="+mn-cs"/>
        </a:defRPr>
      </a:lvl3pPr>
      <a:lvl4pPr marL="100584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600" kern="1200">
          <a:solidFill>
            <a:schemeClr val="accent5">
              <a:lumMod val="50000"/>
            </a:schemeClr>
          </a:solidFill>
          <a:latin typeface="Century Gothic" panose="020B0502020202020204" pitchFamily="34" charset="0"/>
          <a:ea typeface="+mn-ea"/>
          <a:cs typeface="+mn-cs"/>
        </a:defRPr>
      </a:lvl4pPr>
      <a:lvl5pPr marL="1188720" indent="-137160" algn="l" defTabSz="914400" rtl="0" eaLnBrk="1" latinLnBrk="0" hangingPunct="1">
        <a:spcBef>
          <a:spcPct val="20000"/>
        </a:spcBef>
        <a:buClr>
          <a:srgbClr val="00B0F0"/>
        </a:buClr>
        <a:buSzPct val="100000"/>
        <a:buFont typeface="Arial" pitchFamily="34" charset="0"/>
        <a:buChar char="•"/>
        <a:defRPr sz="1400" kern="1200" baseline="0">
          <a:solidFill>
            <a:schemeClr val="accent5">
              <a:lumMod val="50000"/>
            </a:schemeClr>
          </a:solidFill>
          <a:latin typeface="Century Gothic" panose="020B0502020202020204" pitchFamily="34" charset="0"/>
          <a:ea typeface="+mn-ea"/>
          <a:cs typeface="+mn-cs"/>
        </a:defRPr>
      </a:lvl5pPr>
      <a:lvl6pPr marL="137160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155448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173736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192024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wresearch.org/internet/2020/02/06/the-virtues-and-downsides-of-online-dating/?utm_source=Pew+Research+Center&amp;utm_campaign=a9f6062028-EMAIL_CAMPAIGN_2020_03_09_04_05&amp;utm_medium=email&amp;utm_term=0_3e953b9b70-a9f6062028-400026757" TargetMode="Externa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.xml"/><Relationship Id="rId5" Type="http://schemas.openxmlformats.org/officeDocument/2006/relationships/image" Target="../media/image3.emf"/><Relationship Id="rId4" Type="http://schemas.openxmlformats.org/officeDocument/2006/relationships/hyperlink" Target="https://www.mekkographics.com/online-dating-users-profile/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024659-97CE-4DBC-8A90-274D9084DE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008" y="305307"/>
            <a:ext cx="8229600" cy="990600"/>
          </a:xfrm>
        </p:spPr>
        <p:txBody>
          <a:bodyPr>
            <a:noAutofit/>
          </a:bodyPr>
          <a:lstStyle/>
          <a:p>
            <a:r>
              <a:rPr lang="en-US" sz="3600" dirty="0"/>
              <a:t>Online Dating Profil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ED2EDD9-E367-4784-B3E8-3C5DF2E0AE61}"/>
              </a:ext>
            </a:extLst>
          </p:cNvPr>
          <p:cNvSpPr txBox="1"/>
          <p:nvPr/>
        </p:nvSpPr>
        <p:spPr>
          <a:xfrm>
            <a:off x="408738" y="6489709"/>
            <a:ext cx="666458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Source: </a:t>
            </a:r>
            <a:r>
              <a:rPr lang="en-US" sz="900" dirty="0">
                <a:hlinkClick r:id="rId3"/>
              </a:rPr>
              <a:t>Pew Research</a:t>
            </a:r>
            <a:endParaRPr lang="en-US" sz="900" dirty="0"/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7F0B1848-BF22-4DC8-93E4-49DC5E04E32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10008" y="1110946"/>
            <a:ext cx="8229600" cy="685800"/>
          </a:xfrm>
        </p:spPr>
        <p:txBody>
          <a:bodyPr>
            <a:normAutofit fontScale="92500"/>
          </a:bodyPr>
          <a:lstStyle/>
          <a:p>
            <a:r>
              <a:rPr lang="en-US" dirty="0"/>
              <a:t>Thirty percent of U.S. adults say they have used online dating. Younger, urban and lower income adults are more likely to have used online dating sites or apps.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A0475E5-4D07-466A-ADDE-D2022490BA81}"/>
              </a:ext>
            </a:extLst>
          </p:cNvPr>
          <p:cNvSpPr txBox="1"/>
          <p:nvPr/>
        </p:nvSpPr>
        <p:spPr>
          <a:xfrm>
            <a:off x="7073326" y="6489709"/>
            <a:ext cx="172567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00" dirty="0">
                <a:hlinkClick r:id="rId4"/>
              </a:rPr>
              <a:t>Learn how to make this chart</a:t>
            </a:r>
            <a:endParaRPr lang="en-US" sz="900" dirty="0"/>
          </a:p>
        </p:txBody>
      </p:sp>
      <p:sp>
        <p:nvSpPr>
          <p:cNvPr id="10" name="Rectangle 9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bzKYV21T/xr6wEPogTf1LGkYW5ikNpJn5UamyRc21jvGkcguZY5RUH0arRQZBiRCevNaFJbzLRgL+f5pamcNZKWW+UPhxhxpn8kDiTfo36lFmVU8qmCGzof9MycMeOHklCfTfXPuPNsR6yHQktVvusxk/JOO8w+C5CcxxyciEGCoX0Z8QsY2dL4FEg4xIkWOLxVBg22pA4Wzlmy/jCrwXwrMlV9IhlPD6P/hPS4Y1k0ES+596Jc7ma0bjWVrnnwYm5VSDRCetfKGQzLX52WBtXSV6c6+gj4MPREwxRvoYmXYKIY6q2hJ6vDIUzTdQQgjjYVRLjgUllkxBxQM2phBALbl06hSbHaLi6NN+BTkiDRpGOrq7A+1yN9w8qab1GYDDhzJDan0s+k9Xn2pJp2gTWOjVBQvjUqcO+X0G3KwyDofywwRWt8C1PeLrrCPuTtkRk1A6Z/Iu7ofVYuHoEPRyxIntvHgVsBQZ5NlpM+qX0A9P8Oo4XEjoBRjJ15EFqpSQ9/nKOo2yWVNvBgtP9cKMlIxcUR6YbNAxLS6rjM4pV2S444devDovJzXWEuHv8sery6BpH0+0h1mV3bPR/Hv1T3uf/yKijwf25FMpm2UmdZJBRSdxjXhuuGlEq9o9YEY0FAGfCowO71ipSTlJNrQdY07anTxhQ9IID6bXs6T7q/XSFu6aetQ2uHzGqbFLsNts5gk95VB/u2bxkn9JtpVnY0Ugk0PX7vb+SU24fGS50bNTNxPazACiMdJBKzHR01RLkZbQXoTehtztfnQGvt3szcFrk7XG4OSnmrtRwIwXdpxrrtobFGChT8qIcmXHHsTx/KPCDpeNHWGWSTgH+SlFJIJHsK4IdEbrp0oSU2NGrF0Bt4/hYygjOYud0IbQtO1MhuRt3L6/zlcevJmhU9yKW5PkCJlBIcDXh6Ob1ZQ9KnurgSwg9tjDXG5TkVQzj+aWWyRUaF0aAfkUe6mrx/vAcezVu/t8fEPWHl8j5ehIZFnkUECKAUuwvxh4CFA9J5la3+SeGPGTfRkmkPY2Yek+d9Ga+cDF3vLw+jPDvYbogKfU8stUe6cqpcc17XUHCrM+zNESgLx7/cNmykXVM1U/kLA8o7Pz1QT2BI421k6gr0JYMLlP2Y71aWCtHBuW/U4/HR1zv4O283AxwBUNtFhKujefayeGJuvsZyaE9IoYya7U+OslDP9a2nScjLT5sMgfJ8yp3bGfWeaBtuo/uOqe85/nolAfdmv4rY7GdxbsUgILb8Pm0IjYtWN0264kz6mw4LUM/L5bAZYOfUejEidMnYl4etB78KshGOB5FK+kslpbg0RLZnP0HCeveYM4CskakUG/mIvhFeekIBwgaBu5FgZgx/KcgqncV3+T7fUA4non/JVcz2dMv9dPsi+k7H1tyA2609dxEYu45GNsbdMLHbX7jHVlN91WsQS0FySMLAwvEHp1h7Y4xdlwIuCGILqjPZVFFpjlFuLjJwUV1u+tAErON86oL6AVtEGzbL6DhW2vfTH4IK3hTI5oM+keBrj6W/j+064l4vRC+pq6vA2wNviASj8u0VppYc763tN3G32RdzVXrOHi2S5A2GhTHt5HC7OGmUaXgEjF8aDoCxp2FelSGwlKke7NHKYrVlTxmIvAEsMdb2TejrLx7zGOMq9EHS49i+fDu3o5UCvcrzmYEC4QlTti1U2wCjTVOeRgwEWEx4OwzaYSopkELbciCJ55dadVH6S2ABP4mwqh/cFfbd3MHJz+I6uk/VVyISxBbJ/Wn2m4Y1qcYSfcDQMQ4rtX3Ftr+Al4NMLmtALpMJLrK67Ifn1bExWCQqNWEL3d3uSUuHrVd11rq8MgpPGPZv/neTMHrqmLkHIraSdW91DC4/ykjasyKrchsinUbS3hLbcgvFvUrb88WJNUQ1mmZZXF9Lh1r2qVJL1FNddTzvsbOS3cRERQd1lI/aALLKYvkF3dRrpO/JM9sHanBgIX4pWMJampm2hAX28OU+SuobRnu0J5+2bB9fEUPs3mw9vACvH37cDQxbT71JwKuHzJwQmEbH/wUBuvhu/HK55iFISGTTD2XQoojV6KImIAkOppf1I0yzWX4oaFTbYeMUCl1nNQW83oYDFNRxg28yZ7wWllMeq420gleMk1ytV6Dik+KJUJYDokkayV8XmXQEC5jFWWoun/IA/oiHQrzHAKdRLdlooFw6fd2fap4blGuk18qpJo1Cov8lcFF3xPlnsPCaXGl1pP3xUeatiOEavSCB8hJy1m6OsQq5fdM1IyEF6mWMLXYcoba9oVaZH2+MfdLRe350GoTNlqGqPsRPc1is286qwlm3fQKKRGMFCrXlH+w7pWtAC3+ARmbHsjsMdgqFxW4cuYjBgweJINQvnVrEs7F1Sx6nTnR9S9tMeq5QJKS3JTfCaGLqJsMv51ljPljEcQ/UdIggCq9ozZlJUzHRM+IqvQj1zwb+2YrcboGAcRSlfx3545qUubtXDvtmGxtd6qf74JNDwbYlNQooaMKEEscPf1KAZ2pNOHdMztuyQCxbyBkOGFgLC/RNeWepONOGM3kC2Hk+ZQhIemB9JrazhsetWMUDNRa/20rNna7CwLUd4IKeK9Qk3LiNmbJAAEMtim3hFV3ubdC+MfrivAjsieu+oALZ74Zf8bPib69v4PyMzyWtWGkiJ6I0+kfhLnmt4QG6/BQfn6eMgGk3j9MWh2FgqHunp6pK2b7Aqsy6ZK1vO0vDxUGLHnukCuQkAB9eYUA8NsRuGlfkkQKUtW0SH9s9J4s7MoJlNu8qN+K6wFE8bP06ToSjO03SKZWL1c5swX3uEL7Mo4nILirWsdukZYrCDpAQb0MEFtwrlkpnPsEkszUoigTIaS2N7OF/TMRwGLDV8MzD2nCroMHnNUel+QALcSBMXzXwQ38WtNpC+LNPob+ipFHo0OVzDDVzhclCl9sHPlqhWrWIF6r9+wqcJwElvLXzwfRs7j8IuJ1hOL/FGauXAAo9ionkoTxz79JYH3W2EYe+Fsps95kv98edmnjIhfuTSBEM3XfF3CCkN/Mg/bReDMcgyMezmCsU4l58EoRQk+/42Vrp0p3ZfAXWgyvGZvjZ7R1hO4zuYT3KMlZ6Jdixp6t9HCSRIXFNgQlD1NJ1CF9D+OsBsEBSpGBW67TD1Qb3+CoFnT4krVC4599TL0YxUFJEmjr+ssfMbqBKlZmVEoUoNSFvofumKGbPxNwrVGnny4QG3i/vDiu/qhdt9EG5yURis07fnjZh6cIwuMaNfwSui9AH/3+Ou36vcM8bp842ObRb97vibNsUR0w+dYZN/MQl6oXvHrCLQ4k8rJDgtfdhn4tnXMV+Rdsfy7aMH37PHOfFEp1zBRLvHFLcL1yiuq8jiknhZHEuS8UthDmeD0dGIjg2AChcDs7+WqJ0IUMjkH890mF9mJiBL/mdXy5b+7eDEFqpcUivWx+6DsEokkQOV9fzr55U+fd2tkZ4s+NV1mz2ASNx69bXbJLXOMEEAvGtpBmPUMfrfLOgW64tqiyf5/679JCzqzszPQEFwjKzs+xcUStjCcKKgQrRIA8nZPHdxnXrtN600+SCXtHR2XI23K/s/hn1POM2H9PC/N4o0KgN2JA3nDE2m1mscPiFlohkcJxMZsuPljUyZC23ofPIGg4Xt9ptEJsRNlF9N3R+cbEYZFf+P7+RzYst2knTEHFYeSVzWHRsP1Jy8Im5cPjheg4auJPzmF+9bkct/Zh2ZvX9jpYXC6WziuBH2aiPoCY4MoVlwdVIe+PFosfhCFZZuupPbiXyAIE9Fj08t/dAEDgO6jfPyrfFOPoBa6wSIIr2WCw0zF4doGF8HlS65tLqiIGZePcnF8PzQJyiiWq85wTep/uQ6vBS98vxH6kpdyCXjxXGKNHQ8v1aYmVCeDf8gpGf9ETYMgyw2dyrev10CU5WdiCEP2Ose/zZSslaMhNL8a1T/i/PVhr0NzelsHzJtTYFJXaZlUuzBVRHw+vDwunDAfeaZH460RcQJiNmkcq53d3JoipAc3wStwmuh2B3DaxgbW6gt1abCpxyK62e7qD/FpzRNWUHqVgFeB0n8WWVz40kbJFnplLNGpoC2vqrpxpZ4C5/Pf2W2sqp/AYt7e67RioJE3piqH6NAS9h9mjKiPws4AsAOBMYpA2v23MPW80IBHjON7rTfT9mRHl8IH7YkkxNC3la2ERDZqA6pxZRIwFtY8rZDPvCmd5eO3uc+KLP+jLnjJ7b1qH7PisMHjPPqIU3PyjL52HcyRDBz6gf8wIZ+e6/TJzMLWizNbinD6cFEBvEQArIvqcbShfyNdgwqulDEbrq7FPQ1GHgyFxwUXs0a+ZsoN8xipwtEUEEumN7RdIcaSFhuIAEfry/p5/NbWTfQDAnaKXCiRaPu8TAoOH9TE7toXRcuD0qeypkQpjvnfml3rZOAXsIaKo089+IlRu6w3AENtuNHtb25yeiOAabcF8O4S8ZdPjWobcAuvyPClZE5Pzj3dxNXWn/thuvVHbmuvKp6cTitaV/B1PQaOG/F1TLwQoREmMdq/G87K5Bsd7fVQC8eQDifVGFju/1vDk3Sx3e2pw5E1bl/qxYrNhqvp057gYH3y5/V8jL2SZNhnZB/ATSg5KdnjpnxhPKnCXGJ0W8FbuVsVSu2/20JYkkVhiKEAKocanURIAXxYofMGVprAjpNpQn5crrtzFdMJqSy+fXVKKiRQagsm6IpZQz22UQ/oPqzCqDPeRYjWV28tKeRtAugnZyouosFMyC+MMKm+Mzen28VDTXwRFbcOvDCeeCZP1boqhK2gNkP6gAotQ4KzKD6Hdq0vwtKAGDUByEKUbJ5gJb+yfRW1G8p36x4IRmvBQPstRp7K/jbf8WcWUOxqQa0LeZj0sZ1BEYH7u/b5Tz7oyEyhhbffSwNmZkDylmKsqnKesBiuu0rLIFWYnbzhUTP+L+3+TU0hrIvmph86tta6qm9BR3Rbex4EusPYbiOM6ikmWFwjS/fnwdkcgO52+O0TlAgq7xla5np/V7KQBePT8NoAE8WDnlxqVzoUP9irxymeeawfRmhqF09O+dV8zMJoal89wPkPwUuRH+1K17IqLw73Fuzjbvql0zf0Ny1ChE/TZx7dNOYlr6flSTthyslagRApmKkWsJBabkwHG+sqdCBV4MKmjA8Bj1InFQ5E+091XAYh+CsIWbvGdfVo52aMr01mcG7QbYnrZoxw4WXQhOzqVZe/svTTJI5PLGslvl7B8xYDsZ3wZdcsdDmcZ2ebB+ja2FMD4YgDxTa4XK5mv2YUyP7xquHmVSr72OOpsmXyRkV/hzMNYSrj618d99XMWPvZvqUlR/JArlWdAE2A/KLB0yH0vQ4tuZB2aX+uSBf7Aa7CzLKc+s81kN5rpVqlVByvsCTpI7x1evCyF96KlmCXMT+HGaQc1fxXl+dAWBjMbO8KzIMqM5MI8+jQiN8jMFuXdRAYr5q5R7hRZ+3fexQ0CiFYKEXnkAvTj68wLcBDsujTCQkN/2XeDTurQDkpRpmIyl8Itr131GtRl4NU76yU/MwDEEW/sI8IFwxLxXCu3qZOC8Ib6xTHRFCBKwDvMsPZ+ov+dth8oHRu6rwbelUbgFnqQetQS0tSNfR99I5gO60oY/PRf0ngrRnsriaMmMG1oeYpZ/FrDaaLlaPCuJt/k6CL7r/Ndg6rigx4n1QLyKi8PH9G9W3jCZS3nAGq5yjFBgRt8SGfC4LzogC2xSJWW1WTKw29LLaO/E5+bgbUHOQL6TW9ReLBkdNj+uxW/iWP+oR6WkXx8yp7jw4FkjUlKCuQnKUXeXqbY26KbCB1Q8ZrapQg2YS1lzVojit0DcK9Ik8Q5MN4v6ELRmf/d3ZDh3aVw375FJFgb0rZitO7bg56+SMzntRg4o1UQqFbWYVxj/1I0olxTAt6R28siaoH66rudEFo+jHQ2QFhfLwvU/gVjl5UQ0Zv6foBVDZJYqxrgRbNK7N8BMbFA6ukShN1HmlWTuuxI2mD1EJBKgsO35yYdruWb+ahbg4DZf3qWeskwaYevjVbJ0Pog4z3EbAnDdr7Nv6hRUFZDf0CUcX0w8w3+MnfBeHdof5w7TjuVILYOFLNiroBo3tyPO9wMv85T3sH3X+vTLRCm8A3uBoqzFcPIR+7j9+DUZlCqLOe8Z0UEPFMy/v/szYmOZr60Ungfge1skDmlES9OFVU3ffg066m01gfW6G5rwQ8uVNsjQPTqghBmIgbUq5/ZvAxAmQX+MHoWE+S+N6ao4Z89tkwCzQYC9odtIZCtYgudComxlKrl0YuwwHflrypuqoGQC1gkhkiohKsvWXTHbrR5RaFkbKVanjng6J5Jrg8sMwM5h90DMKPEW8L+T9YPZLOJ0p0jCZZOl0IgYWCMkPnyfc/Q7N8JWFiZeS7gV/I2Io34uNbdih8VYSbQwidI3CrB60RurE5ZP2Zz+2On6GHJEtUSB3ZzaNIWvW22T/CIlw3z3mn3Vs6fhl7yvrMaFabV485Ba02ae/gcl+Hcs5M8xtqxA90tbVcLXuU5aZaBCe33n5iZKxsQfRadtiDG24i3ZyP9koOKqv0xLp9qujCKmPuexIQv74NostRBuMYafCFuUc1h++Q3oIAjUSq9Ut4+k6x9R1bRmxFmRHMkiIqBREA+Dl+JbBgc74V+4VeNHqiqY/CoIrycIDlQPwLV4BP39JjAJ3Fr99aWVschz9vxxSCtyt0H7ezPQmuXfQ3kgXdWzdFeXVlUDmDDN6NaY1ONtg1nt/J+aFQ/uNqlEe7xd4mJ543JM8S73PoYzkWow28BJEGvPf9j0h34KfYFzYPPIkmfiJpgIizAC34sEOJuKCUI9wi+ykgDmms6wbRzt0NTp4Cw+dtzvyaFLpZya+GyJKvTSg6YXpg1CZFlnwLAbXbzfPbkk15RZO2aUZIweD8pQykenx61T9dQ6Iges706GTsFypanR54nDf6Ny5J9tua5BoAWGeWCZwXgMFhx9VJLtV8I7Sn0gzqv3NkspLrH8bAOLb8N5jjqGLVidD3YP+1ZPM2+5cfW2d5yTKXf1LuAC0o7cwyuQzOnuhSHIIgR1GPoNZmQJSxBTf1cISHDwVqU+UyzMVV4qwcqGsZrWGZYDM+InKLNGKuq8tElkJl0u491BNqrzIhugGmlnlnzybLH1or5IdAG0pb2ERZBA6N/64j28SgbN85ljFFvFFAX8g1OV+GErpB0FLM+VssYQGb+yzEevQTEbi2yCRVK9BTROfUb4jit2l8bt31o8OsYoQRWQ23HfgdHW3tfRH9AuW3jP6NzddXNQ+6c8Wrf1umfhxvXpZht6T8FPuxGr7hl2XE7vjgCgq8TCb9omD++u0MY8HgPr9q3Vihu2fEWmrD12Axw5BjmheEKsFm1O5fJ3bsIHH/3r2j7MdS9bLv5YI1igKhRuNVZMw/8BSUo2kzr4aWY+95LMdGo9u6uci77IglzwP4G9oyGtUZ7Bq3q4ImkZAQajVXqSRRcpj5uzrYWgacIInqVjTFZp45BhGomxp1wyDJhru+Ty1YPyMdjkYKYYBQ+FuL1t0IduRuIgKCHK+++PhZmUhW3IcZUZkOTsvIAWNpQnfkv83ScMAXJG/zlblTtFwoRdoDXAN12pG7OHL2dT8f+emUq6KJ/gcVoPFBe/wdEulR5plTDTcBYTPiguooJt17Uf+uw4G2XfCdGscA8iov+0x9t7E3OvOklfxZ7GICWH4lzjf6uALqnZWf6x9y+OMWDsaGc0kNvsqLQ37p15grmC3R968QNJvzQbeKEr+xvnYVNE10sV7mglFDC4XJh7XMYUtw9H0k+KUtdHXxfC67lWKLFHJ97DcMC6yPwO4UZICIyAF49KUj2T+6ScRux5snRAkTvTbfufawYD8DfAt6/rapcLeemphcnPtc/4hZcBIl/NaaacfaBlDrWYZTO+HkHD8N0lvCPwvg7PvYROCgIcAN5VnQS12OnFORClJUxuzhFS++OtncbmpI9GdrgY577j6k7bKYnTFuYWPLQSaJwMb+e0GBDoQlF8HqI5eTz67fBmlcUPFoXLcLMvI1jBXrv7bCGM7neCC4fz+TulX6mRI2/emr/ezeLm1r13c30T/0tE8P6Gs46l5cZ4CKd4oBiBqIuiORSsQgcKosgEHuOH8BCPiIWI4pFTOCdwzpJ0a8RdzAYUVxpnHUUiOJDQO5c7i8gzoqfWxx2O7whioZiGyzRiF9e/aFiEdFcm7l808HgoeboD30sQhMtqVx8/X5U+s3cbf5+776avv1ibOqjnPtIPazj6OyfjFJml6tOOngKNhzdMUeDbYYLqR9Q1uVz89pVBqo1xDhMIdloZjvWYe1MK0uhuMD8uvxwuLXdAQrgzJPvwKhzfHfWSJynDL+BSljhMpWydh4TKrLdlXN96umP/AGd3e7yf1rAeGe+rjtiWAK030kUhDpY/taIRNOstanu/3N8Q8Pp55ntiXuy/lfPP6R7HIw4s/89lDpCj60yW7V4UOTxw/oPtou4tLwWigl+zdXWgdEEccVMmv8vmLEiz0AIMUo3NjrB+Qnv/wpESAXLMj29zg2Ptfe1q4yiesicjPOcn3x1qyCYfEZZpMsJDKgJexWLMVGBt8s7duj7rHaduFWvj5cEQEHRaD1laXxCeh09FpyjyKZ52Q1L6RQfzSrpNr24BeEAuWnZ9qTYb1/aGHbLZDcPFw7ABJOOi4UKJImjipmxiNVjP4pYw04hW41dxc6aG0OLosSwDdJ5BGw1ctPEMGB5UwAnEO5cpl39FOnZW662yzed3gfIsLX7dib/PnBktjT1846VlZxsCdJshDOt+fD/a6A6xe7cxZ2y4LEtv4osZ0Nsg23WKCZMFgEy/ztyshZReZms34Q3m9AyKP3aHWLK0SwB0ZhNfxEu0xauU/mKv/P5rtOBISC9tEyFgqbrMuI4BWKgIZcnI1PdjYfpEUa0PZH7bMl63Ki3phR5XVp5rhdUmmtSZtDw3S+9GsrBSOSiGBCbHydCRewCPGXoGC3x3HbDlM3Z+TkJ6KnRPamav/MuIJGsDR8961HqT0jYaThgZlJmkMi1m+JBbpJWZrS3OU8ECkrbCGKSFX83yAiw02PG4e4ctsGazlJ8Ax+tQ5/bq2YrkGNzOr6XhKfrt0O14ZbVYAMDecfk0eX32PkX1/S4l57uCvO215FdW96yTxDD+YXpdkEWLEtDvrAV/Gz0RTcY/UwJ1Fgbwzu50BtOg/F3TEru/Qnmd8bTIsOngC/VeYQlyC/N9k1GcOzCdmjTudlCEHqrvJ2HpzpOLVi1Jf0lZ3jTbHTvV12SCv0Efyz4457Aq6Ogxv6ZFxd+aH9pUX3AEyEwMIhFcZbhI1Z8Xri5CCnmh5fFjOmZWs0QTK6VIYaBVdzQFwVs0D/Osi+ZDuDF71WNOtMO/L9Q4iOE3DWJyxvmhovYlzQXFZIsZd0uNoYOFv6evXosmyDszPvyetiloGTJsT/+Z+nPcJbI7KBLWEWZpAq9G2y5nxy6GPKJoJEXNyx6/dBe8sKZo4uuzsdx/ZU66WZkRA+TSY3YwyK3TpqiDMopuC8Cx9ElDqlkKI3S8a5RqHAMQ8qkXbex885h3anGwXV9yDzvqVYaqTVfAr2XjCUmb9xa5FueZTWLHhsKtc8CBWGtxQw1+lMDNFUcd3IMIdnGZPqRKEtP+wq3HDmyvyLgfvZWPZTSnSdZUwqKGJxwojTHlQB2CUKDQN5REYnoSm5Ssgp5xkox9UoEgbjn08wKcDjQwRrupQU7B33V7YaI+VlU/9C2oz5moEhjCMnoD5H4blE7I7sT7VVuPqiJI2QpeIRlQLbrhhJejXEinChAHc6y0aE/rofn2eDz4bcGRyU/HI+1nCNTrE8e6PEt1/04IXvpIfn3X0RYUhuV2axWck8ldXuRAefraxmOwnSUvz6PRh0R0IU3vu3UK1lwlRJrowbYpO7DBRLx08Cf+QxQ9RlgL47uUNh4YuCoHjenr0a+vYUJ60NKM3PskptgZjY3gZDReG0u7tNfs84ron0CDQYhBCWq31foE4ocri+AikeKnp3j27B0uqevf9+UnH4/bYwveDFpBSlYky9o8amCT6zoXWfJUTQRrdzU0zumimJhYMl+/bCC828cnTLxqaY37mzWRUPnaSLvBZe5dhr4sq03yUtNnsh0JxqL032soYjS2ybNWDfZcCxoZFFZLIB1mS/vUJx5bHmBPrVHd+sxOTdMW4WC/PnNFYZsiXih37lQCMVuwZ3RthbaJBBzX2vuJXV07K5+lheMJceqW7QBhWTeYeGp7QV6pF+qOLQc6PP5KmKA0PpS8pXO+Ccgcyy3d2SJt+jy82tppnTEJvaVDcDTLFcFMNKwwtQVHwlwSiMMYeuMt3/riu6abaF8sjzVYqUkDs1+jmqb6A7N9BCTotsMKigxnsEgzFUYoZqAFAjTN9gVlaUD/1ltmGNtI1jOvgmGKHfFI7YFGvB3GbozSjhHs1u1JhujYDvtvaXTKhokg+f6x5VuhNu3ScZ6q+BnhOvWqs3IueD1HzrT4MGHAdH/ZYVKDzZABwT+s15U0rcsrktIbvQ5T59CVWEx5piGteTk4Ei4SyAFhVTndkwLEuG9lY5sZeLlZfbyK42pMEgUVEp8BLptcvImVg1dDXIGZ2/Bo+joHGGPsGk9+oNUxWns4ptGtjuJRopW13181ASKXgWTW5L6qac05kgMZt2vPX5lIwGCbUPl5rb1RzF2POg7MdOaBMkKKVJdNCyRKyxVBQTM8+CE+WYmd/unsN08oJKz7ay0tytH2cNW7XLAPff8xPaoHybmhbH5nSGasfnjFBfuOVLkokMmUyJBBS4uK82rlUBX3psgZ7uxy6L0cMKgknUV19JP92KV/18DdAwrHCESN6WCIAOgXTCPfqbZr+oJ0c3t+HpouHlpGkJ98UpEYS1yYm3T+GkCX++0YwG0JRigmQlThtK5vmxNk/UVZ0yPnoTngRcsMvxnAkktGzKFKRMwjkk42CKqbPPILucNWs3jyWGVjoX74BGHdqEG/YwGXRMYW1Ni4lg8TeP6f77c4yx6rxKrL7tD6Zhm0h3f1HP/FAg0fJoqwIBU8nQjARblLJpPbz0MYXNvhJLPECd/GgCPndDQiLOQ+9DeUqqRDIzFNTzVfx5TyV6ZsG+0A0VK3iz9w0OsSHWAktKRwIWXLC0VW/4HGa51cSSrwIwqlnBRIjICQOzdlI/PLGuFcEC2N2MQqULnXO4EZ3f0/7ISIEkAwCxfj17VC/U2KMdoMnnM8nYcm3HHmkAKtK3y6PH58rYuzycHmImCc5hlid3eZ4Of/YWQj+31vsWN9jztgq4iTTU3X6jmIKPxdPH2m5yz2QtaQcVpprEFm6b1USACRqYXOtwElh1tH6oX7MgUxUrpMAkLUbXXOQMNZJKxa0h5iYBDWvfZi3yZGMX173kBJnuaQas5IIDt78rL7Bc5qvzpqfdSeNjQW2GpqReYJKAm5UOTyNbGx6KdoUqv3jpMJjGZcaq+OqIL71CrkUbSyZ0yJKVe7lbnAMNxy4OFYYq4ztHCnMSsScg9TG2GkozQXO/cxV8PvOzrRVII8wX3Xn4ZDXOmnYvYu0dHx8vlc/SrP39lx0bze20m0mOb1KgGECj/CzOi2uY0H4zyXkhiTT9GRAoACGgz0kGEoQA6Q1lG/7/H5kjSYfoCWdz6juGAqNxurTCG4LcD3lQdSXtQl6mHryvMDTCm+EpfC/25I8HhJMzbcV1Xi13K+FrTe+i5imdefDDJE69Fbr3hpXd4zCtcDnIQAojCwfjbu7GXgygFh7wPbztnOiUt2tgUUULKoJVXzfFx3pHulmZqFiy6AzXtQAQhBKFdGbCjfW3Q/6jSwSmWhnzgwP+wam34LVyiNTsyYVXNjc4AjtA5fIpKeN+7gI1/vC+HkkAUys4X3xe4G63vo7KkUlt2FVh5IStOIlz7uZYUb933F0BlBgt8goX2Ib0+2D+aE9DYd9esV5GSiXH8597rP7OKD4MaI+wS4EdrrRsR1NnxiTQoZ1pOEowPaxxDLNV6OWl0pEVVZGC/V7UDkdZ7Ni6X03crpZgGU5eJDku0VGrg6KwKkc/0JCq5valUHwFE5B6kXS7dkkuxuoa8gnsvIsQeMxCDNnpCW1jhLiqk4rLBKCQEp5yFJzPIk2Y94bhFrlhw7KqEl7atBWHyKczOTygGqNeqtFHIvFSq4bTXO/WaDwKvVxb8xkNrbPX9tX8ATkFPVCsJiLwXn8bd+hZVyQM13rwnXKbnyZM+d5vQSkhYfJhnrJcaO3OCzn6J5XhJnOTzCahlzXXgykoMJPXfSAPiFUkNN1HoyKsUReFbE++vZLtwL2MwIweyESfymbxXIK98mD0rLGPBFM6NfHUTq9zK7Nh5A8oQHqyQgVZpXWN2r45BL7n76s+AdnogkSDqzVqxIm6zPMA7vRwdSnaobF/1G5mxXbFt3pOR6C++ZCdwDkrqXt+GEcy3e6QHNznGrCzUY0Nga2Tcw1HbVglD4SFJnm4wG5T8nTo9JK8pnCw6E4A9xQNhKpQgm0iTeUb2X/9av7yo6YAGHcygMWK4TovS1aVTsn+SDWCwcmUYkiWM3JBzpblSqKGbc68TnoKhJr+M/RbMx3fm2gGgzx93r5nD8EfiClicUnuAu5ZKDeZa1yJlVER7nNknVyYeEpC/BVlIxsAgTnCYxME75n6hM3uVgUltUhAWd+y+Bg90TbLm+BmUPvptO0YnYYHY/ciiNv9RMQjz82Ali81LGBSChS/yG76TniqZ1TxTNNBLQQhGke86q2rq6iZAj1otY9SkdgG4Kt0xqQrFClvWqlxdUIVXvrYKl9aNpBStrooFu4UbmCo7QMpCp0tu47E74UXqlPH5gnRQTTGnD7Fwp+6Kzc5t22/AU1QLgOYkKMOMvAlKzipZTPuCif4opw2z33sSjpGgCinWzDca6N7DDU3gPKw/fazPxUAZjxqQvpw1N3E5Apcfn3qq4a6J4Dn+cwHNF9ERFX4TfO5ULaSsT3dYASh4ZPtq+VvfDOHa74V2IAqOeHbwqU2qt5F5jt0Zj74F9tDRoog0BHLGu9my0t7+b4hSlwW/PGm4mF1AXuLLIY1Rgf6GMxpZtGSC2CmvoyGalksMy/u0kMuOj5yW9CfzqE5GfVAy96tfWZT2JxQAcaptzHHO1PjOXHRk1CdHBFMXqAQ1c55pyXRdIvblEJ0E6o55j1hhckprP8bexiUUK+UySFYdqCbBnfMuMr54qsipT4ASmH1mNm5nVHgEP1/C9hJ04FOG9Lec9BEZKX1PTG6XJaEMRF09KXnljXKFECqVllow+bjHiQOlcF1QhaXkDTukfkRQYg4UjF9l7i4rXUxOK/DbF/TEug/3F0lPDrnZLvgqj514G9x1qd7/ESAz+xn8KenMSo1sOmw1PMsf1oCKvA3ek++3ZL4ExnrfPbKoOZFT4Cf+AUY/YdX6XTIYRce/m7usnL7H6751uUtfhV+m5JXp+DGJ1c6cpL1QkqBtaiZxAFlTtdiLcFKZT8cI18FXBGDv67eNSB9HREvlNza5nZSDs1eFfkSdFMVAG/YarbLB+Z6WZzeqfFUjk2rO++IgHDdJ4BcscKPBp48XwxwapUn/U3YBtVmlJzTJPvjOj3pSgznNeyKtsnu3yBPmoO2kwwyUog9UlUTIq23GZbEj/DEedGwwCmuvVcLI/c/WLjPIIM/6IAcAm4iG/ggLkeZ+jU2wO0fa4FmNFwaj6dkA6gPwr3bdpfhMaf42W4o0j1WFKfBr0/6iA2I4XGqQDrkWjCX4sEnHdwoLCsQsBowa17UBOU/dYNImJiiUps2R/5oH71u7mCvMGeINlvo90XgHQMxW6WV29kooP6LGfXkV3v1q/7kvK554EqwQ/9TeEnBOYCOL6/MBRhhdLc+l1dOkrFfBCHsK6cevV5qEPuRKPHLfVkvj84A9l0KQGuho1Io2lQ6tKctd26DKxper8YiF62KcTvJ4bKP2+vj2dgjbdnvzf2V4+zIYVToh016CU+YwBrEQYFi668wqG60MDbFkyRTtInMp+5w5JhNp4cKw/3qTRqQIbKehSWWII1bTCn8zrtazrMTXHnKC6nt2boU/A2R0zShzlk5KKYGuTiVcTdKLPjrr90boeaspcjglhP5cw7Gbmx3N+PJeDCCcM5Qvh4LzaneEd3Q0ArPw9wWzBjZLFOvpBfYGZyQyGVPYxpcaAlWuEcEUB5C52nAtxS7s7/1hc2j1TvhGb1yogzSLHub3cOZ8gCjAdHEmVbpUE9AQX6pj8M6XDS3eNmlkAyXKpeJ5OkLtoEuCJQjnPOOs6nuMkEKeJqoleDcv2tFoMlcpWjAW0R4HPDeVEQICaaHmDQNfRen1BC9ElcTy4iyhk+20PAFvy4UvUY0ySM8RsiMwCqLenLHF0dlKobakUUIP6Le2lak97BsjCJGxDsN7V2jsHADANssPVPYJHcfBWw0TRbSuKOdnfIs2Wv7P4kSls7w5eKcuAdKSJybZ8i6Orix6XTG4qTRKNS1oMsexG/u5zqgA69ata0xL+ebx57t5CnkGfEyvQjrCNujuZOi1grGRqhUk85AbWUmpNrNUv1gHQfs67EF68x+lH/cwUVsQhg2a5/DFqvZvNqueVo3f0jb8HguL88yABYdWpSgdFEqeXBP32VKTLh0FQGrBNU0+U3RbtWT0JdzUXG/AUjPXKiRZVrYkr4IAiM1Oa3lsG+0AkHRKNefsZ1C0LEctDf4Zm7R+Y4h2jRXrb4EH+vCQNX+UJ9BOMz87D8QsQbUBpCd/kNNPzlRNuYla9s9MM4Dx0Fpp79DY/Z6XZrKSmC/J4mJhdjNXs0szs0AP/y5EWh/EfjGopf96oVzYH+Oc85dna0957a5e7bQ5+wKw9Nw6Fa/q8Im73kZBZK/Er6U4VbXjBPdNrKG5Hv2Oiidi3mKm6aef52ZKnb8FiiKdPbKi8Btl5PecVc4cgQueNjPjEWvtFYvT7LP2e/lBF/Nr3CmL5clPFIfGvLUIjd9yV8HMV0SlXinYWNqLA+u/kQoBYIq2lQ7qkY1h2goYEtHAlFymAxERiU4hqDMkTCfdMbdSgdP71ioXZhRRL1q7GTPwjy0W+ETQGITZZg+/Lv45B5ob7UE8S+7prtb/E8/AcBWs2T/cF6r06cQr1qr8zyNUHHv+9f47u+Z+jIkOwVuK6xurgE5nftYJbOIkXM5osrwgwz4QDqkfTVf9t0cLMwg0vTikXss1NmbkCpJHI65A0UIM382jmIquF3BMmrKmYgr3yeUQ/rJS+F880PU98izwVkR5jeQlkFld9s66UgcuGPI6o3YbAmm/7FXVEVlNmF3jAsW8AnNL8yZmmFr9feYR/LFyfxnmhU2QcRxKI6D8h5lL5yeu1RqxGKrDdKtc6/z4CXZcQCSp5+Yb1jZDrEZjfuiot1rc33mhwEdQRcAIDklt1XWATIbZGhBIJYKVR99zE6qFhZn1GRy/pmaOKdJTrzBYo8xfowxwho6Rw9mixlksQPbQPRBnJKgMubjYTQmQ+VVsVsjo2S0eB1S9uzDbIyHFP3jIgEi6A3jguSTruDJ3L20my0aybO0H4gJ1wia/k82n+FKxI2vqrSaTpCidTsuUNvrn7oK5+C6Rc3ruNqZWVMIdCoEije/bCVPTtHTTpSleoBJDYdN/lY0cdUlJlTMBilbK1oDB8MOF9QGO1MzrFbXYQdp3BvJUTjjnnIw80Ezx8gx28qa8isinW8llB8rE1JHggZLnvV7J0pM6/L6f1jVnZBiJ8YDdDc2ySWjvbAQXrkFLzhcvmWj2DxNrgElnuM/TrWdcJaJ9aNsYYIFgahjAKHVG6Z6oDRj8SC2Jig63osRl8zFpyalR1V8EgAK2jYpvZYfipEmZd2rC6h+3EBPDDPuZr8U9FfvzsMhqSEotT0RzC4OXrM48Z9Sqh0KvLhCyAsT6tkIFW/Yr2BBacAuvp249UbUbYAw8vFWGr4uRvW/PIYR/kvQ7Cy5wXTx4dpMFV/50buBYcDxfbR4ovcU1ACG8PfsZSSixvWbj7+EzvvJwSv/NPwvm8VXTSREZ3KysNRzT0gbT1H/nIxlRxZRvIyYaonwy4zNu8s9PO66eMd9A0mQA+sOuYVvt1ndHY0+nEFQ03okJnR6OXCyaSioGlEH+DYljwmL7JLjyZ3Fnc35EjyEwz4K7BXi9exaRg77IcUpiZ4DvV0TlQTcPcVbX8fx8de9jUfvdxQC07EClmXUSugCwh9BNB5k4dtlaunXX9exVDsN2Fl4bG0m1WUD7/WTPMbYDdbndrWFeRXMFw8oJgpAEydgLrthDitMQU+hBITlUezpNvdnkng8COrSouSnZGc0X9U0F5Vhp1IpWf/QmLQvD5leIXr7yu6rimQjj35IJUXhgLRcBD1FVuS2ASS5Jy3bxQlg8MZ/kF5yswRz1RPz0gWWt5pITGRMLJWWY/1VYHPyOXWtSDBDv6svbMu/J7i5/X43fJlVVM+JpkfOMCJdHSdcMsJeBAAT7pyK4D/ASiTW9hUD8WaTBz2zxGHBCwgYDEnB7dsgWsRMNrtiQQODqoWR4yvTrNB212id9zWu/pWS/uAhisbYzprriIHz9N6fEGuMRiejAue4WfOXrS0q4rNyb5fG2uUtVqpGAk9/jcLPlJ40SBFcI5kY8RAsxi/N7iPee0wDqNVuYiZwMjFiN2/4YGkSYPrTfSZfUOGtahzGAzNKjE/lgVaV16Cyb1j0cHWCy0fkmsAPvV9cvPIgsjEM3j8ZA8Xucbjom+Fp41FW6slI2i5mtQQ6P1ZhR57vjqUwN2jtfctpPrImZAVKhbezBRdlfQWWOpPKswGzlIwJ6KDf37c0VS2raY9r7Dq++YWHQrWuRLyfMqfSVA5aiGwCpckxSdHZ5+e/1TZybh86JstzYYVT6Twh4lq2nzLY7K2K1scFvTNn8gLcrQ6EV2MhrUkTA3aovan6MCkjfpb9zVgNrD3wNfY03N+llSMDddPMd96ZNAuyuYgR7e0BhK0qAhV1vnHzhpaEUTfL+TxDa3zMd8+bpJvFacQ6D6G57xuJUSjDiEokLDuRaKDkdw0h10mOHNDX1rwxNHFThKxHpZc60C84lMxqemStNY4aMx22oyOT24T9d0bSVbHx1CKAiExLz6+cEGMxHp80/n/EPIc8Fml4Szsdf0nTuygSHqXA4wUXDWCXr4Qju80PrQ1/6yLnJ/B7MGMqz+lqDMbl0fM0t6CUAHIT9wUVqoD3d58oxszFESCyg4vZgvPEdoSrhPaDMpvJgkjijGYHO5LsuJ6t9EWMbWEqYSzhn52snQOOUw9SSm3JSztR2zWg47dQaanV+cJ0dUGUswqOHi2rNX902zuRSOOh/laZRaQ8MYFX6VUmnI1Nt9EAntbSPlvTy0gR4oAitOr+2Z0wmKffm0d3iAlzcfYTCJ6GphKlvnhqcEBkeKT4tjl56TpV8P3lZ8T4IRDMXVItD3To5xFQCiH0ltiyi3sTlKwrqrKBvnOM6kS1dFjHHbBNHzYhKG4ksb/GszCrDaH8iLbaWZcYvG9CvtCbeVVEvR9M8eP0gKV9u6YV6j6BUHxBww3Mj3U6+6fdh19LxP1YwS6j7ArXWDFTaiDdiab1B19k6pirSY09G6IdXDDG6+5GdnagKR1n2CqhvnSaf2a7du9QtM7D/9VFDxHnHS/snnfd1Q0p91Kn8MULdd5Xhohz4ogN5VRqbFYmocL/vsHYq8WUPFwWd9EShirybZwJfNo43Mv/V0wyk5eU9auqpN6xHg2DsH711tge9Qgm7JHhrZ43HhEyQDq90z4nkPcPVyhLTTkfse6V246QXoFgu4/PKoWnZiUiz53bSBnfKIJo7mJc+7wOSwh/BBOf8DcK5dHAmyFnu/zOJp4An53A53tEMBq2H33+sf2Q3+25AZjHk+IiN8IpQxLr+UlQJOAcSaS+K9DvMiloh1kv/Ic/hUv9luW7jg4cribJdKCLpLFPLS/sbIQ316rKAtPbAJiLnLgKYSc53YfuWcYqPFl+Ki1mpzt+AuL6FFVR6LacNrhvepNGBzHW/NMYnX+ueR6hFB1x5GOx4IoNeZmYz3KJVxIco9OiWm+bnn3b3DvMUgEHRFV9YTjwCE0cKY2fmLV7bFHupTBVfvBuOrKQXZCc6PY3GZADaHucvK4m/wimOhJwu6djiRAOgYb1uOJ8Y7B02sUAIPwtJL0fr1bH79bcLGh5VuDOiZZfMuQyThxRMSWp8IN7xOzzL30EFA1NHwvhXSOrM+eA6A74UUiR4J/E++20kXLop4UmvMXY+J8CK3qpEo6z8xvb1NxQMX3r6DIvaaTfosl/90R+fwS5ip2YTNKvu1VsmKtGzE8jvWgfosxJcFA9+vjGsLHdJD/2zmBLTxB6dsJRzaxoLKWe8dL3DrELviDZnLq1vi6RpkLw54nM7WxeulHA+TSL66ZlBhJ7fFjG9cLlE2IvYvsPvYAlCg6vmpEszHzdknJoQx3EEhcrCem3ov+qDdcOWHJvknF3SQWXoBcu71DTk7JYDClwffNHDTGnfpi4KBbPl4vC4Rf6KlG5gWWGs6GvB8dSHToKz+Rg3XozZjCS59LE1uErsKmAGKwW9lsuFAycSNmRUOURipzNkkG11qCrDoMWsYQs4We4OsK0Ju9Cyd4Eusb0ZL4hx9jjxu6kTxWCYcplydWWaEhpcP2HVDDxYksS5lGswL58BVwRfbvjbW4qXqWdDiXD6es6SonJtor9JFtOHq46S+JnAtaGas6/Wq5WiYELCR+QP0wh9zNcSKCIXKdySjoWp8hIvhWLAv2zikwSF33mtQit1z+uzjAmw7Rqrl26Kmk7le/Vx/UL8KoHJO3hVY+ztKeIau3Ea5t/B0B/sDrjORpvky8caym/FBXHa8iPRYutn4c9ovxRO0Vj7nLOOWlPWXB2uvtFJOfZQTNT5iOTNWeMmtgPMTosHeY+udho76Ql2BIqxGe3kOWfK4vHGkKMhDVOWb4pVApNe9VqJfg9wsSXRVei2pxRHJXmhwAifA9iYT3gz9jDPkloUxgtxc990S/7x2ztdrmjun6OJz0Pin+NlZEEjQsAcL9DIR6qF51ghubo/aG5JEfkyiuUcaFVMluLdEguYXvpx3iM3JmvVknYG29M4eqNUFeTvxLK4I691GPdJRsT66S1w9EPj5QK95pgjlo2vlCXcEOtus4iXONPqtZCdL5nT8Ct0hpr9mOWiLIF4yCROLMmDYLRHC/GGf3MGrzSLVj2519r9dXicdor8JsN+48Ightu/1JVaHfUF4P0JcXZvlzLAT2k88Y1VG44LE7l8A61DOBmhjs3HFNrC6gAPdqFKl+RKTD/C/uqQzR7rhYV/00DInj6GGlDwvAXreetCr4wD6PYxoQNLru2/3QOf+XnEnhJ6mK91tl5PEcrV9IS5MPttHP7s/NXDHn8pQ6UVQEHbaXd5iTwZ1pu0VcgckQygd4/entr95vA6U4btbmYd114dip6r2xKvfdWs22yiL5CNYBDx+nMGUmSOzVjBbpnrj7PVhbimVOzzX8y0pIfyCBl+Y+/CVFh5gqWhiX2H/Z/Th41IcG7xC4UkJRuz5C2rYnfcCGYKqBBLfCh/KX+/2dC0JOFfytWCJaSBebTm2af1EGZTnba3K07yqGVLgiLxdUmmYhquwFTdujys9N83BvCA5T5luuKtAHbg5yPWv4SQauWFr4bFhkJRknYLqrl99vWKlcWgG+cZ/CMmdFrK1tOijjw3P7hmou9npDdwmNPncdTXH5/bqfgjJ/LUl2ID8ZJoFEMOtrkC9MP884pm3/R/E8Xb6avAK9PfPLw0Ifo2AiEpigF7Y5bCfN73s1cNdCfvjdoZ78fFkL1cN1+pfDGQDcRecEax3vCBZnH3yLxIT83Ec1cXg3OedFc+r/1TMlwIGL4+vO2lkHC3JNx39dEawbaJXA8DeTj/NrjWPqoTCegwnZoJHD91lt038gfeKR9fOGSndJ5S0VfZijYftaYxDaI25p03MzqkSOnrKxb4Fd/6KsQZ9JV7gN7J1gobRG6le1cZDaEKO9AU2pdz+fleDt8Mj/fesDCpJ2ndmJBT/s6KPcjZHlXU5Kb4aAIiznOucAHhXU8wioldT7eVsvzfvC9unzPQ9ud0tBfwK9BZYST9uLAVPzQrBDXKzsDJFuD+dqmMKqZVCkatHyBqPqdPTpFqszMMv1+5XdUEVvzZBJoJJKDT1c3fycSPHlBUm87TWtapFvTgK7oyDUEIPPhTRHEl3//ZShoii/2MJlFpdexx6eHWsKnJcqiLfMOBWI8QvsOgTOS4i0p0lKzXl4fzv/0rsuPDBNr75p3aL6uo0QSGYzjTFjF4V+/+GoQiA5RNrGP/2S9LMtPIMds5EzRS7XwhteRPD55W+3la3WaXP/t7mhb8jCf87oCq/OUEsmTWRjOCR/yFy6TGsxbgvyTTP8vtRV8FyhZi9KnJU/8GpKPi6qvqLUAxp6rJwlZCbAgzfm7KUUwiGJhTgS7kuOBqi7itGwpk1jls+OlVgqWYV4RfZ4qyfiWf7/Z6KDxw+7Lw1sfBnUFQPXCe8nia1AF2HF9a1InwqX1Tpa4xnWe8FI52r8QCHIfy3wHgQbmexav21AA709xZPhZddO8x7Cva9MnoL+/vchpHpkTEyWKqibBe94mDaNi6nFSvSIRKV5EPpah+tmQYt+tilHIkoX+EMbntUBFQc7sBO/Mtud+HJm4TD9nTMoMFaObBjvjdQ1ZkR1hyMs3wjO+ZrwViq8uMgKwWbzwiRB4aOp8zrNn40i1IJuEFVsfUhqi/8NItkppSfuSzEs6aU+fhPaTzc91eAK88YelNrdkexoRUTfulF1Sa/D094x1Zh/pE24NBIub0GrSJA5aHgCeQ1n4GocWkEcKmddV1pjl9sKS50FktLLb+iqdbsddh6uIu6rsunsoHXgtS8ec2CQlqYmHtm/TxnfWrx1McC9D+OJArujIC+lejo8KqGKFVUTKUn05IPSSNLCYP4EOkgOizm7rwxWjlNlqZf7QUtQbCd4nFyZq7vYtfEbrvUDnI9MDpa8aDsp2SDENRKqXf8rjpS5+1J15e9SQSjcf0cpk42rBAQ9xUVxq6SW2efVBeEWaqTPgYjtaSzR1TGyLSSglHzj2Gh3Zo7K7kvHFzoAXlyueYxoTuwC5j/fBDtcmt5uH+JzNMRd4llKNhD+k7M1+37rHcI0yqmk1mKoAdo9QNz03/DB3pHpXv92mVvDQaPr2YZj6avUJNM/YiCKAPHmtoTIANZbkyxuG0u0IIBMi4EZF83BD779wFQP9E/5acpzYNU7fHRQbSZQpW56KIeyT07kifYPil0XTD+e1Oi/SC1bvzUtr+3KKwE1nuWke4QP3TIZOLNn22w6uwuyWT6khAZIGRSgsYhTmOBxapdnXH8GW+lbE5KFg7vof3Na2NlmreGXt5j1Woq6PoDBo9xKEAqzOlu2JiFwrRj3zgeIg/rZsrMMsfQRQi1OgjjcTys/oiZAsmGUncaCnG8cO7cwJipa7w8Kz1VyaLKVfCvD2lIyGIZuRL2g2f7kugMUxMpiMbCfbo/3/x2JrfTsTvsFHAZeEQRDh+rB2vK705BxxafDlGgwMgoxKulah+QBB1YdPDiPlEgZGZ6paPsyZaszZhfDhRY2EiCwhE163rlBBK5IzOQ1hp3HuKEn/TGlG+5eM666VQoTXdI6T92szXQwIgO+HMkVUY7oEH5xEAvbNhu61gEd2DtuylC0dfjphZTHNt76sJARERyqtcf4knZSofl7nS7x4RDF80GlHXDJ62F2gwf9nLTBpRkYFFwys9au5nC8rFIcF8iTazcaatVCAy3LpOr5exe5bs8ywQkn5Ojq5LbbX2fgDPdQWuNZJe0d+NwedMUisQeVGMpe6wodxf1f4LvVxJhLLc6Gu1gtUvATyoEM1Ix0PXgC/fj+actFEtt7CsSpUnlrS7VCRtRdlrguOw95h9+iwr55cnagUyLk2LaxK0USH8N729OeYTv2DLjfsMYUbEpbuTcW5a1xAw21MM5xxF65pVEJZS05av8gWALfYY1Zl/sOVVR0D7ZBAY0ZvdB3eQUwEKg2E4mKG0hiZB2aOqo6jhU7K5OFQgP7oD4EgDUkCTPwwM+E6hq+/xDAxIAAoac870gBn6aMI6qLxGx+yKOVkxUZDypC03H8/Ui35PvrGDr8U5N4oHDgR6Z8WUR8sk3FUmxkCNxoRz8IW2d8DJq/fX86eCAj+yaFgS9EhDcpHWomHriUKiQ6UNSwShrVtE3vGMlcRfjP/Dgjbm7v3vsr39SgK+oVwpEWDk5Bhw+8nC4Njd7oZ7Pohz6b/kOGI8P2IlRheMwKuUnncXcXFuoi9K10HVmg6KkxKABfYOy/299gHWQ4pB23tngcUqLoq5ufT5FLayWOiA7uPKO6Ce0bDmCPYV7+DANCan0iubV0PE+dLmOEhBx6Sd5NgIrPnIUaQn4cJga7s0x78ApZPCb+EtueKokZdWj4QZG8VzafTMGLctRF8W5ARz9MoQiw2qoZBrh6Y2eVEbLiBedWVShsm7R3V/Htezhpj7NiKaoPiAcZAlsIm9pyAPDPR2zrbK9W6iZU49b6eH6wMPNGWyUzfezcWk7p2BeIWtoKylLY9uUYHMReuUAzMRjPFXiUB1pDfzQV/ucWigehUJ7EgZ8Ep6woO7yyyPyKgq3N4A14WZWn+qqldRdwIBszBekACyyAAF3M8dNCCDih2oBWCXCIq+/IxEN1NUq3AWNi4eZWe/6TLuvEzwOVBg2HAoN0opIQsuLt1Q6O4Ee72SLQbxXRxwwMwPbv2ZSI36wtXGYMf9ONV91QZOZRu/DfQqV0djpenvor+B6sASmUwGlgcvAg673qF5evwC6+qjWp0a7Nst43fM+Weif42CbbhXyBbwBLYQbIvUitq71LVWLyjLCI9uEq0ugMVogR4eKKzt9LB4BRFsPKp+6Esab1W1vHiOd4hVAaBkCvkTPTFjcYmQtGhXMwmkVi9pPJaxbzadROUlHyQYSXZyGRPC5IdlDtngsTdw6w8ChDGPkElOjM1ow7UVsDf/bgrs6sykiO6GTblRGwbGfg0Ddri2HMCvYnhkmdt4rnbu9v7BrPpZYA3viyNN/ErEgtoGg42j+PQdK45EAgySrj6ViR31kyzmwPOwONEIAknSxtsxU9Oll6CVlsuClmPUKCRuGItfUTgvqOti+Yi18n03acHzr/d2G5jil7IotmnfO0LGA748uU4vqo5safCKsELsaIEvdGQMQYLkZmSpNYByMUKQRlIV8QMGe/5TqJFKtAQOoZdG3Bb11VkTs5YgDRnPUrVCq0+FeLfzYLgZo6KuFanLWYDiRS5CTBP5ETHqd/lJj38EgcFtfjW9OXGvtjyAa8P8zV5rBJ1MjmFraUYtZJgP5DxzMrwAuvI2davcibicRngldU/e5fXfLXq3zdx5/DAKRr47XqBSrE99FEQLB92oBdCHgqG7d3UGqGQVOolo4v3ANlSPV0pkmNzhPCU5XUuKmbdDcMaT6napQE9LzfkKdR1Zw5iH4+24mHM5osGyoJcvo0SHMJihJNPb5PzJNP9ijCiA6WcPnAb1U1mcpd0qc79f3wKx2PqlOoHr/w9kapxW7vRD056ca6IBIiWR2eCBk6dKZ4XPS9SxbAFO1R6FrncUOlD2TKyIH6stBU9sORSQvRJhlgRd6js+HjvlcngECAMdqy/DUSOhL0T7tp4yvusBkV32cl8XIlf6HYUsDk+/IkK2NlH8UttHKfKqLHXTcrQdrc10tTy1KiB553pj3i1Bs7bF7lu+C+3yqCoHUjJSuKPHt8od8NUNuzcbZ4Nj1ezf4a47stwf3vSE+SQZ5HXY5SKaWvFnuYjlSQqgqz8Wdb3BFlUlf94qN9h+OGAf+rgx/VHaJok0u8nquJja69Drstzx9mJbtly3oP/65fq0UqPbacreddYbiJCh3TzGN2ryYaRXHB+S4Fxs2GYDBBdnqKiPEjy5i5Rddxhq31+WyoI/rey+e3IhQ4IqgVd40mqUe0XgOS3IoT7oBc8AcIQzCbuTrCibpN8lpUJ7XdyDtveVU/lt9Xqp67nHvgsOFxX2FQfWn6qqg4GcWbu96pLmd0qXh9wmbkUiXCddfTLtPYQ8dJJT+8P3xqe89O18h6P7bKiItM605SJzxunAD2as6OzZmI+TY0drGrW7wCBDY5Z5U2KMJcYL9+dWyNJcDI9PEj3RMUNT+01Icf9hfHpt3iQ00o34pJTULDMDK/outpGZXSJErIUGKDOonrqn01FtXzOOX+k5IeeYcjwIJas1S8GRfgeHf22VSKo3jgeLuvZ2I3vZpyn8QJ83jAaZPe6TWR6vmRUngeaDAsGCO49s5CJito4TGjRjQXi2rrgc3OOeuGBN52rfSEd9JKmmR426BS7vMP2ogImF9WAKYIi/KWIfirOAyHsF5iO6aVd8gpbvL1a9v17VcawX43J/c8xBGuoAb5BzqBZ0H73+Mzmr9kCziG7A1M0k/7aTuOo67vcmJT9ciGUE19SyE4eg/5aABjQ7iDXz9zjWbIvPdkS84NaEGifNtEtlWgddB1MDTSE7qs4z74BusAxJYdQQhrPupdR/kpDMBDGqFNZxnIDEKz1CACyPrl/oDGbioPgU+86YSxLYTB89tKPLPCGhbzoO6B8wF4pwca7fWHhzNJi8yHzVnHhZTCGETDVg6SELLV7wD/L5j/7jRUdX2kjoGobFXlK03p3VruqntNplsTDXrxhBpxDDjCo4mqXF1m9swezso/MSSplNhrhpq9AQ6ZQjaOiJZ+9xm/VNjavxXPzsFvwlnR4qxdA/i0pkCc1rtVvohAqe2qK0x2T+ru96Vz6E0Z2BJgmOeOJjNBFsl4iiS95QDuhJu9JbdqxoI8rh7SvEXzD0QoQLmqe4rbpeam4YDsJ2v5MoXd7QLSarBJszq8gpmeZCfIvmtTrCU7K/CnwvG+rxCMedsQDB8wj1UoGrSwivb8Oj7+6NaeAVraEBQcYNa2UObYIyTBmrsszGpuhOEmnmHz7Bae7PFNaDpWVuVk0AZJUO1T4PTTUJP1sQjO9nSrUXtrPkRW+zCJJ8QBXs4cATdgs6m1SV7DlALVad2TLrjDFE8j4GKWnTA9DRZtBCRZFtt/SDqsBkPiXbIno19sjOSoS1QahRI28/l0NhQ4wPJSbWmy+FQhEvsUftrm4YX8dNy8To/J3HX82W55nEsqDrLnUZfiV/FQ/1vCUjbr39B4nEenJ9OpZ00Gj39rNo54jifskyp0IjjO/ngNi8/VI0d+MHthznQwPrwJpkQCnNcXA1lXa7G1WaWReY9v5mbZmcPQUTkZaUucfMl+Eia1blvledCW5/OFDBZWQZEaoWDGiiujB9DvDZn/+ILbEonyW/lDjUgShqjlKlEkna5pka7PHD2mnfdfNvMwEBvJ7qzlgryigVsPdlaMmWwpkTxrf0jgQTInxtLUTj2AGxBudiAR5BI/r8E9kPLg0Ee+26Kz1+cvLLBQCK0+KyeIQkRZoLMxyE73U/nCm40LGF9C3oSeGiN2lwziW2Sw9S6Mj1vLdYQ6ZcGp6RgEIkEetz0RkaBF4/4JFFwBSTlEUkT6YGP8fucIJEoD/aLxq98wtVmto8hq5tfVfcCZHj2TNeiVFhN1FUEUk8qGd+vOma6jtRp4gGczcwvoFageyboA5OWqUhFwMpgtemi/TLxFc2T6Rra5yUERvqL4n2LbRC1ZU9Yr1ypRsQKc2U3Jj+mO4yKdZolZw+mhRAbxYd5vxIx4NdX9TnI6YD/52uj3KE2JKknX8SpT3OPZFFGTrNqi+Tw5Qo+QDYS5EJKXj0yxgqLjdzAAweBMdLBwiAU2/YZ20w4LBzCdgdOrbXP3yhoJMZ4ikSea8iur2SEZIX2ixdu3pgG/bYrfpvZUtzdEkHe8V8AzR8b8RVKapMm+SNKxe1qGi6oC4XBQU1nBd+8MiyxKpov+C1jF1kAh8ekEKrS1iDCwQklNtlBDNkZWNIrZStViyWORVXyPedVN7RRC/0cavqQ4dMPr6Ws6g5UqB+IvSok7hSY9eKKniXpY2sOPXQOmIf+Uo8t5q1zL4DLg3iT1RckQ5TLThkiubLzdDzhTMB+V/ysI/GDr7HjYjiFnBeP9cwfYu+grdQfnerrzb3OHs/QrBKZliC9xTCDPbcgNdsdrYMIGuCQQ6MO1TI8R4xn7qkRi6/VaXPN3W4fro35SBOhibW5EcGnN/Vn/3nGMOfBdyDNZkiUHCKRzuW5RGZUb8afzaV5AaZono76B/t/406/rlWs8QQrG8XpAuLYJ+PJ6udRRixswdIGPNfjRvjZMLykhZ0hCbQEQtg2otEUUuNjPoOi5P1NMoR4zAneTwJvf0Hn+u1aSzpgKs+IT5caitvNe3SLG/6mJu62pIfSZSLu336ETVrH9OxWfeZyJvPSmdoTwmshc0YXS4eg1PqeYXWpqJ9iiBhgtyQUgb0jrgiGsIywOZeFybW4rC2G6ZrdlnsCfvUNa8PDrauOPIACfAvU20GzPziVbDeFZjg/oaTh8FQq+3RJSfgeNJfGqEk1jt+AmYSjVLcGWw+6cmknFrapHd7wnPA45DTRbw7Jb05ocxs70MprfHnQKu043BAbkCTcWK5qXsb5z5afbA9WMs/QjiyjE+xwuEoZ2/Gk7tlJobzSHIa1od1sJxw89kSTFHwlanGPBbtsjlc3APq0UJAIBL47D0kWXgfcrk2y0PpAFljVv3+EwORfYDZCxmwFWTEtrswTGyVSTFxLvlHCIf8i5I1fxUPhfc078YoeOFzTwqHh/saLd16iSneVLC+uaV6XjyWtzjkdeCq0ajrBv0n7LZBN2adwuNyUkjEtMqQ0SkfhpUxs8acpIcg0SjKbQH+A7AdzpiqTIj8brbEqkDHEq5o3i/bfHDNIQ1sDJb7cZBmfewDljfHj1qGWTowj/FsHQqxcSal7nkyfxxDpMCbzRVE5k4UanwISlHl5bzWJUJvHYd9ifc4x6ojjzS3La5mRqGJ9H1p6k9LBa8/Oq+0ZOlD8zHZYaimFKvxaEbiCtzZxIdN4CBn4X2sdy5E4Pt4bvQkhPTFUc60a+/pzoYGtF9smEkWI4QTZCm2OVqp8EaclUFttxrUdv1KiwJpRKjLJHgoiqhL1E+o2y1caCvkUpnjPWWFzuykT59//lOcTgYNZDCKVSolbJaN65pfjaQShlliIEMsMXSNxKI/XWvuJYEXnBmmgw2D5Syl+ZcoHGIN1CvpC0WgWD2T/jRsXffD/D109/AiU7FTVvUZqh4xNelEM2MlQkoXmsLOt1fl4VHMJtasJlMi7x+3lCiVppeGsdD3qImeW2fMGrxaUGBZo7Cr/zp/6GS9GkADceHz9NUhamvH+A1bhW2zAyEeegfe0RirhjG8uj9dS3C1p5X1cHl8cKRqHDGuy5JSwGgCOuYuULcSKwWtfUGExD3Kb1IXMDYoTjIYeWoE0Kc8zkrsdmLawt5CcGd9Hq0faJA+3uESka8J2c0wirKFSSi7HEQcx9QASzG4puwzLomK6JMm1r7kuMSut17axRqqghyYLbDHdeqW5mrCAh4Lwhs4f1ELsaIVIqGxIXM0FowzV3aJb0nqiaHdi8blCm4MoZuy3bggEeUqEBG2SrhczaGwSjoj389GVR8ATPetW6nH4KTJaON1ve/GHN2204uhcRwVrPYkrLWujdGZSPHuqd8biyO4S6FTtSi8rQ/hhRWoj0RYAcj974kKzcjgkcbm5N36glYn5NLoHNTZ6d/i73i2zWd4HdmeAMA/eiBRDldMS1mjFyFNgyVB/HStHaDPyE5NW2diUxstaAoT8tUu1L3PprwUcDpcpqxZ3Hwqe/gOZBbvjbJKuV6XfXMuCuXUVna6UMUC9FFNygEnLxQF9mWqWxCijuThDySa5CFcMVzNyTxX/UxIFsCyK+yUul0ZJCNNXsp+qc1YKjvk3aFEa6izo4RJoBtI0G8peqtyDCE7DCAUskC6vw+U9GWw8ykMheuG+lMGzQW6mE4IOP/+Z9bAuTGBpVAtJ9oXAD0KjLnbDlJ0AmcwjmQwaMHqPjR1zJ5yr4h7EP2UshpX6jVowDZaN4vI47sErokZaFst6M7BQSLpzcxbmCRRpy7nDwsUvrg1pxKupVS6deDU8Scer1HjlIQhkurtT56Sq87r0K1n6PLaQdN3Go+3ZzMBVJHBPR9laZO7KdCk/fB7nIyAy/5WuQ50Xp/qWyPUc29ik+/8DBN07EBPSKN5L97cxNrJlkH6/ocyRtNpzz5g5hsJ8r+wx8rEibCNjhasrqmRfwV/Ag4ITTZIaXCwvd0SUPiQm3FRwQ/BC3S4Rygnyo17AOqe4f8dGZ6z8OARHg1OGq219su5wzLMfafEkMVvAcMVplCRrWCqeS0lQNdvE4L4DVhyDSw0YE3if97KXR2pCieibL8Mi/lMqIvxQleaHhfaYHIVlD73mw5QtiuwBufZz07+cEB4OmokEN1fnpn2RjnAS9S9Lh1gPOhMv+rdOYkCx9sMMj8mbRUCWSwWnXDHK99uXL32HcIjcAvBLYz2OAFmOEGHZgEP5k14IXj+jhfT8iEYjJ82nBbO66camT5pywLuDThLJCfdFeDi7F9yyCZoUs0nqmGoUrZTYrgP5zykDPk6WP3061NMcL5ks1df45S05/I3oxekmptTCL8x/ScZvYLBCZZtPaCHEQsvoYGkNDNvQI8EAUHIZdV96SKt12H0heVe2MUNQxHMdQWKvwyFDLlgjSuE4AbwKS59XyWX1+pfKF4OzMk4AY4HukgLjH0/+2Ok0hC0j1qL90DUJkO0USQ6Sy+uqTeAcQ94YfMQIBCJYbMeLBOUx5uE/x9tZBJtHiLkP6D/2GS58gdfAbY/5xtBlNBqc38L7XBxlg+dWF5aoP7u/b8ZwHJzzF5t9dBQDp23/Nu26n0dPvdAu0ySw+fmXxX7qE0ob2XdG6XSXx0lNlGJd1f91htNOVCBraomKEyv39hNXD0y8pgCYM+2NiXTwRPFAVoxDIzM80RS3Tq48/3nE3rY+cGgWjZeFpBOVVfpSu3AEWNYQZWwpCcg6H1YkpF2BMFLdGYPCJuqByyOOYD6y84AY76Eao4Bw5h+uJni5cAonDajqPM5iWrVHOPkMNV2mdGj7VXG45Ch8/0pImhhTkrMR//ZXiQGyJ1HReAFZCoLlpQH0lZ6koD5YTmHdqKzpQeOvKYd7tIAcrEsZ2J+1eazugftZ7Ll5XEXATImDeR01wqPE/ac0NGYyRZvnlPCY74Ljt+qfiq3wPDmaMB1uh2h29yBM90uHmu0xe2ZDrKr5gNfXx0PZtbfVNiSNYMGO8W06riw2ubLZ6iGySlnn/rHbacIJNu+SkSjVtHyYbAnxzABjF1VngIxKp4Yn1wJ3t7eDFaJc0IGFyxKXGnuOjo4NoOAGFhIbXN3DJOCHvdWbHKJSmA/7mPpm0S+ELBTfivPyLOz2EMhqZ7vqIYiUgToeKT9aiX2aJrpE9Lj3wKoxl3Jr2w+pFkJZq9wMnRa2rs/3mBRbfACnRkXVuS6UBE4hrrCkkyOTdSptW9Ec/mkJJWdenKyhQ1TKwh2A0JhQbfNxZwHf8l63or4YuKOC/6Hd7PIjyAen4boKmP9AhKHsvVCXe9UuDCAbZpUfZTKmGMvefWob3VAVmV7gZncINPKrd6xQw11V3yBTW/mDfTER//Pm1+ZGfOMPpzQgW5fRu7UDBzpBrC5/4i7nSyfVyy+Oo4sUiho2DHUP893ZCqVK3sLLGgDhSqHPDVzpt00FpK/CE/Agr1miyefiih5c3wG7XkkCvoBy4w+dowrq4r9i3uqsl2I0dsME/8LH3waJUDN4Emt5Qh2LfK4phfLX6iT2JVbdI5N+iAKS8DNCciQxQoKhGbN3OtLOJcJ5jeoyS84W+2PVhgdTuSpcEvbXLeHNaB4VTSO0SDYwDe84CXGzF8oP7MmsdYDsJ/h/YlWlbcMMQh7p4DxnRHDfcV0vKy3qLHgpiAw2JA2I+a8amFmvvPZwaCEumFExhTTwmJYj6NKrz+bgLubTlDB0CDHsx+l9HifAzd3oyrDv8Awx4U3fqeeXui0IrTWlNnN7RLi/xqExIevl3Ghtrn92GdnYv5IbPmTH9W8lycI0FST/3uqsNvYWnXScZjxFW3iBD18XsRtYubmTdpwX0sERruKOpWyG8PI9dZwYv1RxVKolTOPZr1RvkT/sPd7H4MtxblufUl43zVLLBlQe8i0U3mkLTcfgdkxLIULhXF5sXUoeNUmP6nu/r/MOHTBsaEPmmAlttxDXNH8UPy45Lkpc48WuT6JvlHFZS2jFXoLTN80Bv4bgyg1GoHtRW8EKAmuoG5JFg1X/Wl5YGzuyWRNZfcaDSz2tbe2qyWyPanF233Tj43O+yvYJHY751B2nyGne/HSGOLCS2RT8M4vYrJvXkOhQJ4+xiRrbUigbXGIQEU76xgG9deJXUAp2o00UdnoIWM3dhNbipuJtd7PXEvMsx/yz5IMtgqrR3EySU40ZKjMoThTdASp3ye7RKYgMo2X7F2q/mbeX7P4W81cTW3PJ381R5PATbOkxzTsEqpE+y3m46EmArnDOXBhtnQbLyTGzi3+nXP4+QTH05OA/14WP70F4RclYbsWLP8xrk4IE9BN91tB/754KBHXktUG//8ESYNXILHY+fPWCutvhQ36gtCEYK4Ce1TsdvnCdNxAVyCfVo26uJzz2olZRNMLmhylpQGoiDbQuqgoFz9kesiKTjQ78slXm5EUSWby3VnUpv5jtxDnacyY0CmHpvtQPITqzbc73b7MjhQGDxL+EFPdYeIbo3JPEUn/blKyfyZp0WcckHGV5yEVm14bVw9DOANt1nteLbd6cSYx2gwF68lkJFTD98+OkSUvTbfI8vogYfdHtmOBX5CGm0aMfs0sc8Bt7f4GUCmFKQpfYlkGgErNUN8DkWc5ljf+65rXv8xpF5syduiBcgsmw9BXqEu8HNzyubl/cVQi+euvJ77nBJ09eBQtujNuIMLHs+ZS2vQAJ76F1mTYy/o5fBqeqvpr83Zw3yhbCnXukkIv3TS5FEqr0gcMvypRP2ymleAbzZIlpjzgzJpn7NuDIvD6v8QEJeKItz5d2bHmG8aBPHPUqwKHkhLZwxa55ugMdK3ay6fu6o3cQ4MTlNj2dPjJoFcgKR6KGfSt1WvlyBDQTEIe0sRlpJHHUyjQGG/H32a5Ke0p3BWo1j4HN3W7dlAiAVg+fBSAArWvsVSW/WMp3SQSCLToPDQ3Aw2YyW9wVfcPoLmtn+/VDDCWd8OpzlpwX46yiCzL35boqeE4w5CqAzF8yNHgl7MczQdTe8J/LEQd5vPeTQ9+QUvE0wVZjQX/GcwUCg5p9Djy58tIEr7jIHFOjrra0ZAdTQKqpn4EW34sn+bB5tOH/eWn/uWUA+Pyh5Mthb6E/5Li3cKXZzhHXz8pxQudjwED2WXp3DpsjPwcbLKVWKdeGGTj2Kzn7YIWl7jVhEm9vL/kOfmMqIyivYKUUTscEq2OIejjmKaZbF8mqH+ZN5J7gS5JRMmOJyrL0oiZdjyh+2XBJOmdw2bQcF8ZHE4eXmBzFjAWyZF6aAAaqPk8tvKsVjbZ5SmlSlb4TGZcTWlvmxxNaAm+ULE80AheLH5IxuSw3ZrpjUlK0O/h8BPXUu4dX2Iq1jn7byQa2E+nlUQ+nBjo7C5t9OtFLQ/DoypSwXS/hODr73qJ9ADMC3JqGst3q1PQQXREksTGCYRqSm3OuY5dQ89ewH1AG6Crvk4C4olOEGJ1dd6gad/zk4WH4WJhHoFSMSBRDzOtekKEtCjMjLwCDuhZ2YSgc81tFhI2YRW2OGOe9l/HFAGUieWCB6q/0LGvGQVzhhtD7ltk/fFvGVYgP6AyCVkfqvfCi/m+Zkvv9zufaKfRztXsNwwDVwIX/6CXZqeTKV9qZOfDYo8MBCIzGhMzoW8CUOfvsejM8r2rKsljukNfpVA/eP88MF6cIZ832dWVYnv0DkSFX5G4u+mlnsR/xLmu/4OU6CeFjNWXMMlnTcMdV5TC/U9xNmfy9Ms+nBdVJpIo9SUeYMyStD4nTi1sthXiV1cban1DBXZq6ote257hoQvFbvRSZe8OVPH1jHhzMe6xjg1QGQWruYkTZPl7aYJ6aZPakxN40pEv+AM9NbfY0qsvp5c6kxwI3WAOnq0Otdt36KXQhzwKiWQ+yauSysFW4MgzLuoxRWQnfRvDkSPGsIa7jCRfG+63wMVIzg00IZHARl6b89Htaz29CE+PdA2MsM95oZmvmI2qq8FsUOiUdT6bOqzBRrcawS+6JAXwYXFRj4G38Rkc5PYQSMrLII8GHBglhQ1Jy/PXnuf6T9EiB1wZqlEDfKu9uadkmAz5tsyXl5+KTHNsFLweyffiRszv/TcKHQjoqvb+1xmPION4q8MOolxeYITC/WDZPmRfsCHOYARyVXAnOj2nP7Pk2OkJfXPOKPBxvXwmfNrUfm4i5QkUrw3yxCxxKCkwz45/XrJdOq6b5AVew3/6S1pqwJA4dN6qLiFKFA/kO65kvEL2WTBjIPgGvApRQvGwFhV1nWPbhdH2L1bop79yqZaAyaDSkDw4qt/+Xzk8JSA6IyfqzvatN2oBGnfL4vAmYEW6bfwrgynKHbI+SQWp5DTjjC2hufXpWKS0su5rZFizT1rLeJQYALfuRUbnsN0GIjk96NF+SeLkT89mk3p0wAfvAzSa4RqNOIlVsNo3iwlBYXGFzSh8Hb2fI7N7VVmD9KOivwzBEaj9lWyHjRN4ic9N/5D7Z0v72W+oD0maChPNM0/HVwp06NsTWe12ysdonS6ZpO4ZDLIdvantYYQ4TDfRNCEkuZdc7QzQjP3WzfE0Q72pFjtJ1ZmOcBAFqQebbWzT8grXq4djzfZtda8yxRettWwIk7tu7wuc15OQLAYYJl7QurxJBiCW+qGtg7Qaq6STF459+uJqYITP8GgdRFaNVD24IvsCdHofj/OQpNWS79i7bSn3NhzsNTe7Cyr9dDRzP0wN1Ap9w2iBcZ1Rze5ZZRhV0sgmA9aqjn13jUuCUYjrOsgmIlgL/O2TYpFcfP2lHtqevb41+3raswgaPEIAO7vXjwMBkaAFcKz4V+gk9VlCsmNjNxKPbduzrLrRY99kiIBcxgjl7boGQZ5KKysPfgYoMIA34s9OB2TFErW4XjJYhGOgsgDqhv94Ig4GljLb2C8BhsNdDuJ35nkKAz7PbDC5fdMadLnx6U46U6Idvg0/A+YY7ErSgYRaanVt7PtvGHz8JgkZNKf3H7Ijzcmi/Ng1crmqKepO4tcEBB/rh9a5x8xLZ0J8nn1yRwVWFt0cM6CS/qdzuZUrP2ox326GDoNejg3XAn2vGbP2yp/8a0JmzUG65c1zUIcDRkYEpRwmP3/u36jd25ZokYwGc0yYKiPXQBuefw8x9YbQoZQWK66e63KFD1trWQZCXV/w/Rr67azNw/Y59899huPYGkcdLLM21I2ag9bUPvpVDro0mHU1M1ZOBFVIZCWRnlU2PHCF+naMwVop/FLYqKVweB4DMTe7b6FgpG8VAwkTop8nH23VFZv5J6XKyE4oI+R6kX0IWBb2bjUtUEQeHb9OA8xGTzA3/A7s9h7YACkRJinY2q3uhkUTEKhpEb0bcbszJeNQfZZeS+bt3epWLWG0/qbdHPqNW7jVaINBfvwIrLF1qaMwnc03Cs4IcG8V2uh+O67pYb8OIZonVNCXbLUOnXQX1ZKqfqLzpoWbRv2LFcAStILZ736ZPj1RLoRp811sr+JB5MomNBeNjWCRzj8cNdaR+MXjVTtLNh1F+WxKFiibFkJiSQx33KAZLDcDODR3Wo9x9OAAjg63oEGalU4APAnKi2RP5QMr5yAJPM3l3ImIM4dF0h0EECnbHtdA5SIHnXwxsDmUwxHY1rfxtJBhP8sa34JDoQKNM6YwMvMYrLe5Tq+RhlZ7yDZzaGVAizja0AUNhMUYnAXbr3zUmHWkgoE9iH4HRZJ63Sz6ghiMiIqsceOIujxAXyFw/Kis+iTXzOF6oL8UDEXglPbTtEBZEchnDP1T+LftwXNrcmlIssMlkCS5u+VZ8Cwj5Ru3FauHHsc4ePdfu+1T1jZK0Eide8va6SXx8YCOi0NJWJgeM7CR130j6HK3BEeCqkxt0nZ4j8YfM0THEIK5NW9cy0UYg/rxIKcggEY52ca2y257q1g4SdjlJ9/J+aKv8Ne2xMFUS7HQI7YQi8SDnnX1v5OYE9VfEEAaMQGN2q5Fnm02SIbrzX+eScqC7CkkJETJXv96TarZaTlWpR/chryHBlbPZKdAbHOLATDQCI73jbO6wh93HxtwIpmiPdG3I4SdvYHlxqi6Bylt515yO8v9SMmI0YMkuOW53EBre0VDcxHb7HWtGv35WsgxA5RtGGa424MgLlNafHCbAm3em6cZjVmXg2zTytwKXpDHjWsiI62GCqQNk0IcUFLfqlDlbohdsn1Sh9sTwGQowGwonCSt68TvL7MZV/A8kvdpUcEHGj/vosNUmvSJ0UR4waMpoLWSnwwBQIRcgkpscAVfWJ1UWVJZ6dZQ2sgpfX3wjEpxI2onkCtiZsVlal0vNqUlWKuJmHuvEnKaIuOvRwutsHJdxMOmbsIlTZLiOyP/6yrbCTwvQT+VrF8qFpJ+hivVpSbPRnz2zxSb48RN9vL5oFhrPLe5lmCWpU2IcvqjYHMC+A8SuyfLhW/lUOn+DbNhjUOBN0UDtwgom6J10JcQ8gtGgW9l0YcZEFAs+ogWVa4ZqvaMCM6QXmq6SIEfxzXk9qJ0fm6awEzirKThPms7AMreKqI8sgm5V/s2T0V056dyZH7x5OEhjE3yvKXj3hzyFHcqKWcNxM7niQQL2U5mRJJAsCwGGtzI3ZGJe5rLoX+LepcL7OsX79NRfNmH02ob76rqUUFhsxime3EfZVRX9/uJGrNtWWZtRrIzoqgGl5zbeGbMcB/8L9u/5yDZjnPXnhX5WSJZClYTpTmJoGdoLZsdHQ0fH4mO/Oetlux7WhFkubDIyB/Sq9RQ2dje0sAizr17zATAUG3LcdFqw0PxsEXQtcu6nKKIKIg5YgITPZGW6kGUDk18C4k7qxK0XFUZzHn24di+RcnQXSzmTkCqXvKVaMIgJwecnTM0TDeJkApBbIAo8QvxCM8XUmUNQgqkDgB3fPnMThFc60Pt2nKcsXKPwQrSltAaDVsaN9m2rNnUxkwFcBbbBmWx5XIAyIuwPdOv8TcT8hdV0inMPDCW0KAwtDK6L5FZPX1NsD3FAscm6GgM1WvPge1nETh4F5sdUE4hG1XPGEFMtTuilR4fiwlUulDk5HkvTwDeR5PjvzlDYVu0k5DSMQAv5Qzfz3bAw+3uLxLKcDkgoEZ+yUS9+N42CP1yff8KJl7MzWaFjOIZEV2pCGX3jMy/LIBqKJWcSXZi4vmxXPgmyB+xvwl2dBZDZP/Pz6J0rWePXuXjdr1D9b1EcFLlD+FqqP4CAaoyAjwr+M+M+TUhQ0W+CdD3QMeY+SAu/MPdeDgvfrQYUidmuGUcZslNfZdv53wrGqafjnNb9bHEvDykPniS4yo1hNPlWObGx+RyMuVAwNC+Gq++3BHs71F9qfA2ks1WKxPtYojHndMhu0AymdU4ZydMVdE1FVF5V6uH42HmH0YgfEeF/6fvJykVOKwcGCXr3q2s+1ORRsEuVS3yPiFCeEEGYGmV8IY3XbqCpDgQ2BQphtct3P+0RCqX+rm9tu8CbSGaIct6SUFElTHnEYZytL585QZKuktP1Ngyg4rUl9CtSS34ns53LCdlRViI4+1WBGH/q1t7uJ7zfibnI1Hbw8pij3LLNnfmmrH0s6JnOM7L49DR0wTkNxWm+0VpLDJNfEXSVNsOyWBTCBPVdPC7eNp/nw01OmnO0JbgEHQ9R3Hy5Rgu2p9kGS2M8t4ukoiyDIWkknpMOt2x2T6vMaTTu+/I7fazAatQ92cElezqZTSUqOU9ofp+eIq1WlYSzt42Z4TgFqNouBVXKYb7x7J3tZBi7cq4c51dqvrOIBPC2C66n61+kipxerUusfIFLrOsrYy5HFSl04zhuElXKcd6ISpZwxNapwyKD0jjzy+WQ3JdMJqbEy3eyf88FtfMuZgV0edpbrq1EW2bZllN5AuysZq8h9qfswbF/WfBTazE+ppkLevG2USBh+DPuIHv2L7NogqUUNG3TJcXMY07n86upb03wHKssiwOGX4+z71XwUEqUDzo+8R/4FfsPAXYz6P+aCXxA3f0oorJ+ikEbwHuTyoV4aG5jYcbbNLCiyO24oDjNXKsAj1GXG1A1Q6XkLpcmV+zpWg3Y9SgtAFVJjYjZB99ZDJxF1PeXeBsIM064mjvlkjE57hwGgWtnMKXqTCjVbkreVZSTLPu9e6s4wDzvWXvfnb8WmxQwkbd9ho/bev3RRzU6dyS0Wa8rGF/hjqkA0cIG+KDt8swB7ywU6O3k+4Kd/c2ZRCcz1exe5iCEzqSx5pIdX7YjnZABdeHSyiSH0mwBvM/N3sl2kRyrPGeLYm3iTlyoyyn/JpGE58wpPUvh40Qw3EARKyDx7ooh9t/G8SrL0NeH5ORpVVRQPOLn5pVSAhhH4uZpb4F5BDm7pFk3ezyldED8BnZBlIzCBVrrscL1uA8WfpoaxvVMSPAlH3fB4g2z84XQi3xte3QW8UKJtkxvfL/wEYcdjaHftUWcHC0oVwDRnGXFGXa7UI6tA0+fFUFJliYbYo7dfHcz3yYPGtmKP9rlzoe8SKwaAkuC47+VWMbQyVFHon1+2gXbmc3/YlONXk9rkzP45DdshqZVnYfRk8AK2l8HUW34zkwh2lSkJBSO6aaAjTvlpMbOWWpNKbGCD/YroXPaNjQFoAfLmwgDOj/b8sdTGh3iigQxHKL3BpTs0/k9UjUdsWsX7B0WfAubNuc26k7XqQcJFyvUVyth1nuRug3NoHiKXdtAcwMc2bJ26iDEpwR0locX53SX7a6UWbhtYYxFcgo+gtBeLe1GGUsWkkK4SLDcfBMgJ4Gwo7Jl5ETNYMulmVa/ACxoFAX6nc7f/3rOGvg/+RYi3mmI2LoQ/PSGC5PaU8r5FAy3s91FakbntslW+88Lm7cR9wmuwXPVA/ZzixulhFep8BLJ54MlEy97AGIna1bTr7afjsTW/fDl1Vjycfl8npCPtYtVDrt8q7SoqLE5kMeBQrU9Ru02ETHTMEuYHR1R0tattGHfRyQ4IUE21+lU286vWFAqEFGgOsBpGOQUeO0O79MxHFJ7uIaNwChlY2GZg2hrM4obbRxnSLzN/eZ9nkOz/gB7d0boUdKJevZz2KTdfzRWOsaxkkgJ6RMCTl4DYYOQVOTgnBzq7E8zObCniKGp2WcCubnikhdZpcaIGZPuIh20yrwfgZi2W3jOpFy2DKgNWWGBkY6jAydF4wpuQbu7JFK0X66RYfjT3NGPcB2lzZQASEawc+6S63X5+aMwYPoU2Di2wIoOi/znAtS5Lo4WvueHpAdahOCU6cFQhO5xe9woxMHxuSOSUncvVikY5oD5GPWqXnWIwiqhsF3pjmOrPw/287nJi9GmjRWJQi6Q0+FUdFXamQ9TsmVaYx3tkpe6My+bFLKzgPcN0UfLBSBvBTKwctrb0sIGdy4OTpfYPaOTjfdeLOjtt5+22u7ghama6w055pZ/bOqORzUmBZZ95s90ZTjoy+LTk8TrTOL/8WUFqULxQz0rqaFFN7zBRMeSu+C8KP5WVpcd0DwQPmr0vGJHSSa5J+Lsuy2TMF2Ji3MPmfVAVbZ8ELV9kgQuvyuURT2U57GELLRP1wKEy+bXwXMTDByt7S1DjikViphNrBkanN2LnzMAe74Y1cykK03MyJT9X6PAwN57RzQbqydlHRakU/nI/4kI4TCCB9H5v7qv9Ha9w3qRmhnCuV5sBGdPDFnwAidv97x9/vZs5VVV6yaOZ3Zok61BFN1S4l9M120z6KaaFHq+3kX4nBcKP7RYc44/MoO4FauCUvdaiSogkEDZCfk50HvTrgjGnvzn11f1IkPXuWorfpvWANjN2+m07y97YJcn6m52V1iO+uQb4Ielu40ZtIeHSS+PyF7fj29h8d+/PgcUowf/r3nwRjCnVHGvNS5GK1Q6zegX6dQPiiS7AxNveAKz4Tbdcei+c3GsAlhJaqClE88h4o4rqEH8J96qDEy0toj+odiRXCnQwX84n4mEjAPbNN5vFc6IHXKG7oI4NwrwIWojTdGnBqNVSjubEUiRutyMMf/4NgMSnvX6pUBMjUlTPrR8WxlSDViKvBwl3MK99WNXaRGbSfPVcW66L0OzHLnWDHk1PdOR9c0ofMG8qh2wqN5mJ5r34GOyS/75hX6ZFpFTVwHMeNvdjslr8xaImyAuGu8f2pJGLc6EZAs7aMAyncaHkJ0GPDZuY3REnsmflXhpKHN6M6pnNUInnX/QuwCiHRzsZ0Fytw2Hn0nfZo8GEM/7M9cScCskIZsPfW+lkxOxYTiTFi3DuCVOsHQAseZ6XMksLqhNrv/KpenCJhcvwFyobaN21TcFuLxP9htZ1NO/8ifpYDAB47A/drsi8sq43cj6SH7Ge3JXz1i+CBod/1hh0W1oZB3rOwXydg3lmcOaC8xhB0SUD2tHaX0zglK07qoTKt6tp0tRnZZc0+vDwwgJlOMkPyxCCtWQwaKAXs2GKeWUDxoQwab5rSR55NGMV0UGUOXPJJnRCe93Wjr+vbrX8zOFxif6RrK+K1WRI1apEJf89jQiw9dTPetLtFzJJ8UAkd6fYEVYOJM9aOfeUFJrjZu3/b45kPyF5f6vp8frI8srU974/WGR8BQBduTZ0GGO48m4aOGkqHXkEogHrQ/R2QzLn5PWWVvwQhYJwK0Ft0n5Pm5jKUctIRO3yQ9AmYTQfIvxsJrMz3cmrxlUk1MoV9XhIsihByUiPqQj9VCtZhW5p5p8jInJBA8xIieiuP47Q182T+7cMCe3L0tOmUtakNr08IMu/IbFVee/V56sAgVs+4SKwv9/afIVdGN0CduBw9jRzT8G851yoId82WIa/o/TwuSiJtJuO2Lfe+UO2DoU2nn+nyzVqwQRqS9ZdQIm1MAafotYxVZ1+z1Llf31Jk2qMiHUgilpWAeJh720kwfsTMmr1XONWQrknp+25JVgHducBRtfKrQo5XPcxYV22g79t4fJSLRZYTH926Ly6uSuyEF/Me1VPb34K93PPk+Tvq4upYblmwD78vhkjD+OFxOT9myPpLngg3CeVUfmgBXdTzzLvbzxSMr3IfY7V6OGD9iBDuMGvZaDxY+N1qwx6Kjx6K1rxf6NrJKemcmN1ao4fhPaML9HrqfL5un+63PR4+eoMmU2ztzyZ3Ai1r2dsj4pjiyYD78pZnNi/ykmK2LRAd+dZwXVH4k1DogAKq3UqpG1NPFGvtS183SQFAdezevz+HZiwibm1zb01UrIWdGuhwrB7hUM2GnzYV/WI8SKoIMweI13lGV9Iwdn8Q25gmZzKi3tYpJxlniW4fpBuA0vksWgKQJBdRmCKBiFV1vIxFv2E70PTcXcMvP6kFop3YmeOK0a3i+1fbNpHq92T2ck+U5jxoxfaniV4xWdt96M02hoUvNpgaDTb4qc9d6D55guI8VDPH2uOUi9sgVHg9Gd9FxJL7FAbRNCwbxckJCy9Uj2IwJRnqlXKapnWZUYQIdcvhDUvvBl96oks7oIUOTKwx626OQNjCSIfsa/a4Vtf3GpNmf2SpMWCbSx8Z/B4AEbV4E/mTl2ve+3tRbhSpndJzvGIMW7I1+tc4RaqrMiw/VxYB5zESqlNRRVu49HV6cZSX1j+tdCFvp6vYSSBHvdRsPBpF2VdbXaaUSmVn9gEJ0yTrC2vxzxjBoeIRiSpYWpR7opHN095J+S2qlfkWh/BCgKhUU1Vpnn28r9CSqpHHanU7oxIsRWBNZuNJakjVPMC0k8SgJs9lFR0BXEs2PhHenjmg1mjz8vqoei8q0HNSs0cskaG6WP5F/sCh8UnxN17MD6xnqV84V82KhvNJUc/AsaeuPskC5H/ewayWsz4m4k2m78JxMi2pWTAfI46VAnCtxLi8XXmDGFxYS+pJkNLisxc9sOhfrUmcVn540LDCIFrqFFadLId1PrbV/MXVBbgOAQPdzH+X6koetzRjx3ZELdi9YjI+zBDu/lejIC/P8tHTmgJg1XX6hRydAtRseRlXOoXawbNbNqWL0/ApXssUvytefBF6zBEvmW8ara/ntqRP7Y/P3QM0tr4p7Ad+hUtRTBHV5C1OTL+bDvuQ43qwfERdUV/xr58glX3w6jQxrJoF34G8rYWeszGkDYRSBpIDlUnGShlYjjUIQQxwMUKNkkLylvjaUhXEoO5EtVEMFua5HYs7hSqq3cwPmjPCSboF/6gdlFYsL+WGhD6xnsrycHWmcWN7dl1x7EpE82AzfPS1asBiP15cB6YtnSaJzhZ0sIvaRLFaaro8+Ux5m1s59Js6Q8eMaUrEBAax3qkjey523X+cOHAhhsLu8yvNZ4uK/ODZ9+yR4/ynnOOQOIOt2Vnao5Soo+8o/Is01a4H30E7TMvPJEOJeFG+sA3+D/28oA2CkW5NiLgNvF3/gVT9ccOhagNroLWBkNWDBLO8Mfe3g3g1aYrh11NY7iSp18PRmVlSvqZ0wpLWobpM/dXSI/YdcvrkGid4GlE+R3Sh/mA5yJFdBvQPNUGhExK3G85MvnDpWJLv7bPPqEWz47DipdIcnfrvLXJaLNPRpka9uFV3/j+2OHWUSZQ7svrI7pB92sQ8RL1za+EBh2Hhnz90e4vzT8clGybFOuF2ajLbKnsDWIxL800qJKcM+9A/jblS0s3O2iPVy/HvwWeNP5gOoPOW/QS0RMTKohrMmeldGyf3UErBiTN9rMUYhDKZccv2/5xwJV7NpEh69VZenrleGZwesBpg2OxHmD/uX9p8aglJ4cwUAucR5E3jueXkYbxO2hkyQjNzFdb0HJCObpSHR5eYVM30oagszUTy2hgCpiA9VFZhdWQwTokxxz97PF2bGUl3mJ7anpL8wb9luNF076EjY2JOPQ65CGxz4crJObILctp6FGIpw7Ha7VYuK4jU/g70jBLeitN8SWfucPPV4rMO1XZQK0EXDCu0/bnsI6uEWm+FWYOZc+YHn4X3j6cG4NbFJc1ll8iyBo+B39/8Xs+CZkZ8BT0ci33y2Tw5V/L4gzsxRD+GaQ+SWYyndJHkBQ2OXURK8C/CmcnVn6fxLgGyX99E8aLAOjV7RKYwtC1tmP3BpSAEFZCPYXUyATvUPLslzCX9RIfmAVoMV2x0pPLpQpfteXxFgnQijAj9sdpt6LO6DSkeGdma2cobRHoBoi9y5scYM4nk+GNn50jQH3dNMLopbOTkQxKwWtuGmgwW/W/VZ+BwNOUgdxj2id7vWovJvh2T/aITtMh1eZED0ldWsecxa+IR7sSiCuLS9FWsB8r6Mj5DbYdmYC9/2/OFWbuAUe1Xn4ALB89SKDaY2Gl8dYy+wv/AOiow8elIzjLzXMhad8M7w4L1w3btSS8SRHlcBp1SQOghfupRwsb/w9/aOXHONmahZnlWSElYBqQOaLpsCWpkVYdC8GEx+H9C1Rw5omdURc0g3HXThafU4kGnTDQxN2pOqzdvJrtJy8rYPDJ1kGyX2RSj6/Tq8SWEJoE+anWrkcuEaB8mtHvfAE2NwXbDnrStns3+Port3nJLvhqlXm4XliX9w75HF3oNM9Sf83sqeJV1YOpOuJyzSIdslRzKhvr5i/G9GhdvgaO5qyJH9cc4M+vnzE2Hre3teLmB71jNs+ns4E1ceuQY6QvDb31ad2tFVjqp5im5wyh5pw/yrJTXLnnsVdOsMO6jUEKUOV6D1auFvsVZkGNqLKGZd7vqDEccDwyfVRJ1HzaKjTbkRg0niVP+5eNXrj3Qwk1y9sWr+zF2OiWNk86lQnldZz78RrmmkYDrQJI6cgnVdASK0IevAIYGY8MYmZcSTdGLvnJEqlt07U3rrjECWykJYZj6yje2h3ElIdx5Wa6dyH96wHsFP5vTWBXs37D+QDfN56K49Hp9FBY1nhIbx5xiTNBrMw9QQRB9KwfUJbtNA1eI0By6uk3Di6n7ZDiReJClfOakrdcK+8o94j5NgO/Q7Xtnls5Tcun8wGPFM44ReRhlFiPvaApZ9YaE7LtrytmsRFvDI7YaSdaBeEUrG58TgmXf5xFs1co9uHVchDVrPA459GU67t3RKpyJzFiXByg0wiyaX0YNFptPAvhYn7/KPhG9tiKnhnzVadCm08JV3v+mo6oU5BOnQs81revgdAXhNQfvGr0mprPjBLqQA91IKS8paVZPhAPxT7Re+RmhL2o4YojMW/PCSnXl+BBBZFMUdK41Yizkq+zZ/+2l3NmoSXe4qrATjwSvfml4J+Lu7LBlf9XSZ1nfmDylJFaM4U/qa90mKnKbHck2krPKk9FL2EOcCadBtNVReTJBndO9urcp7xD/J8ivyEJ70lZOraxUJGYgOh2PV83JsiHb/+EFv3wp8IXmPsYUsrATyIUieLaE2loNqDpSUdwcuntqjsvENVWqU3xVwigmPqi2L4VJZei3+rWrcKKnkCnjiqsbl/sJzyn8bIeP0jIt8dTMib15HPhbmQ1AAbZjV8ltB7E9u9mxOYS7G5IxqgXfiZWtKymgmo8fANLu3drUhEiHMBjMRRisHDtcOHPJ+aQkScsEDlQFCBGGul6upGjPgQZei7wGZRyGbqgZF1NuOm4WpnzImPPyoW3RamkyS1hJvSKTOvbNBH/guZqm8JrJeok7dIQ18nBv+auB1WUfpf57plA3ln8GiePsyQINVwe5SCS80EAjBIlpnx9Aco8fYoNDbcoRICgcVQD1/Az6OgwshTrKcjy/pHQeElMPqM80c3Qkp6r6ipRNKVLZUrMGYBuRJ/HHiJoHGX8KrIbx2/UBVxQ8ftfzHRDjzha+79aU5FF1/xPq8wyVxosNW+Pvax8O3klaqeA7e5+mMrwGlv9WtFY2lXa2CfUNp0uZOe7PNH3p8pS80RIKsJVTizkwt6RXRaxxbdLGuwxCsFYCwCnPvdBH6Q7LEAnA25GDetyCfwga5gJgnOtlv91NxR+3RGD6XUNInnELhagnVaP7zi4dqcVeOBt8rFMNmjehcrRD/XEEg2FRWFkGlL7IftDMtq0MOHqHtH1lUQC5nGtebz090ihK0tF7XKwrsUKcbM32lrMcrvwt2gejjB+0Xxu0WU2nap/STC1iqMooVJejmICsRVMeP3UMzV7SzZP8XfF6+0tscouEM6AQYjR5XBoHnASAMW1zJyTAVkaTIkTIhUFtQ0oW8xuGFxatFNPeJNH80gQGfbeFhGim6pqjNYvupJhwq5X7tymNwmqmU3onoeJ0sGj/bidZ/DYC6WBgOn1qjlVsKRwSQY1swtgKcgh4Y73eRd+LhXSPxECvxq4st3GxCtKN0O82iWlsJLjdh1N2HUlJC4JWjXj1GlULwIO+23UYfZGYLZLNyBudHtG6xgXAa8Fy6yROhEohEPktW9euGlscPwXgppUGoVH1MDll+UiERujWdpwBtYyLeHRYehOuQjEFEY2Bmg94HpOc7at6kE6bpj49xDuKQN58ymLjkxbz9gWDGaBRrTRlpNFnUFL79zMWrpI0Dq/n44EnFr1+xm2lHqbodEDo4MEU5RZDdy0CWUHzYjBf/FzC53a+CwPJF5QxDdc4l/B8EtnX/coFnwNEGrz5iGQ/8wRsPHCXs5E7ewUG8ZVR8Il3YYMBAiJ2C9nRZv8K+kDj0ctboOEo61hAMhHdb4hbwWzaNEUNZz/snHGRCM6I+QUY7ELriR87Ahn5s7mz0GRdIGuUHxxdUDwakII1gQRGkvnns6VqyjONuj/QVkQbJgtSqFLqvMzWtp1c/jkc+qHndozP8/e6hp7wowz/u8fCIm1bdwHJoHc3DM4i/mkYvpNKuWBpn5otsjRZQI79iJ/Lj3EepAR50CGfNYoZZMakXgAMdfiVEh1PlOr9cQz7P4Z7OmoQazHaZk4AGq1TIc6gLlJyZb32uRlJWXs/J3jlsIIVXKkT4o26Unx8xigjJUGBDSbsoU0jqpvbUz51dEcyn3NIdCuPTjsZ8QyAF8Dt8oDTPff5NzmmExWdmfJX3BJ5ocWuuSpsoSlkQQQ8pRuCsuyw3FAVm2WSobH1inw2RScnvi2v7JZQqKi1DBD0EyH784WYUMpM14Fi1e5VK4Lkxzehu17VXqo6wfDyIVmlt0UTON/WngFEKXHK1x8osqIveOXDAtkmkFOKXz1ilhTyS9JKYDOnkJyOWxyUyrK8H+SKUnGqC9NGJqzsYDkFdnAM1qjR7kfaa9Adrxe3FmYMAYms+JM7cJutQYdlisL9Jsw2yA8GlkbXK3urkWC5AkQPuwgj65IDIf4HyzQ434tTZrH+8wr7UCsAg6QO5HcAcvdIRdJz7DOdeXqhgjX8PQQoX1wrV8TjnC7nMQsjBjwY9hf/PPgotYnrjloOvjvRMu0KtM3onmgkU+DtOjufgSUHj6eMhyEeSspJYwde/yrlVgXAUUi5vIaNNP5TqtM9uAhL+lXRgDzkGQGVK42gBb8/SgQZyRxvY2/0h7MpK3QmkESi7Dnozs2y7F+lEsHyJfERziUxHnwNE7wl03hJULuie0q1VcSNr+ofg4RssHLBmm2mhpVN+/0MaSJdwcde3JC+NXz9zNgtF7U/lIMShTi0IlyyUlPrfkVQD69oeFjDOXfAZL+UP4G9BxI7F+1L6ZH57k+8R7HwelJmSnUrPzcXjbchx+fy++0Ws9R+zhwzPtz2DGYk5UgGd6On/srx4mQ3ZKr0LfbMJ5dLI/TlQL5+/cd59+wy6JeJoTM+zX3W5CG5jvF3XP+v8lRygwExkA5dC9+gXQWgyk9kNCr1+veWLI396BPTfNK3v1DpeniIspt//JuYANHmilTyfPVG5V8/tNPl8qJuIarLPDDUPCt9wgtVu0mDDvzqpCRL4hOAruwZTNkyy7O8U9qNGqz9jd4IpcmRF0YYTfBkew6/bClGSRcAoCq8qDAn2sZYH5lAkEX7rJXB0Qi0K4WkVPo5lR1scyO/J6rO1quS7MXdixDEb2UPMP9Ldwoy8riOqYPHw6w3x7LjgvpmHugxPdYhQWveqqtzWPrDA9dZdOxWHdwXI5Jh52/RDIimh6HcKFMjJW0hwMbN+1PfWzSkpCwro/lB+7gUg3GYxvyoEH0ZVrjJ7GzNPgVCDDOQBTVSD2AuL/9uEB51G2orSjd6e4NmLn+Tr29f0bTebTVMP4F5x3T5XHkYERxZ8WWcDdD7RyhbuGUuI9KnfSvNI88/+xeNC/saPGAPHFKAcmLoRLmdJRFt6uWgP8GiaYEhBpSjZGXzufeOs5J6JOiNhswUwbcm77HdB1RAFIMpFG9gsdRUgEjMk2qlRn++2hd6gHGWRXqEq6kwK0fSyQOqgMMDzzbi/6VEBxpeBgdbYwVsGU+X5hmc2gWkL+78z3zKDc8z3xwOmICnUFIN8lban+D2B09HXAgh5mbLZGpdImuUpjXUpOqvOkr5CqXd9vfXTprEQb3/eqUDsH6njx8iGU16f9hQSnfeeU9tevEOhE4YltKQ5/eD+lASmsW/aYRkd64Ov3MvQ6h8JbNY/TPK1M0TciLg+iIJBOr8EHtmz3WaoANArjcSKpCW5EdYFjPhT8VAlsZL90MblwPnaFkc8eIHG6K9WckI0ivSWCq8UUWl16N+J174ymkczGjE1vQapaEbhHJrht1NVCs6FgAvvCokTsxmW25CdjBwdE5C57B0A0awTb+2fUkkALE8iPeZzXTnRnba2tKft5LN+0kjq5T+ldzmFJwhSUQq0QLbtSXLBYVOs6ayFpSOGWboim8LtiBnd9pJo9jf+nWCQn9C65spo1KhyRcuagZyZo7h12VJx4aYFuCu6OEU+7ZWCxSCdoIgVHZZ1WE31pVuqbRxjnPLgjhA5SK75mwBRd+Y4NACGXaB6PbRlC5ccxH6VMilwwbopf2H18IRN4IRbIgC+trFYA3CkSaodBOUIoGBB6sLwQfOFhKumNu7GND2Ko4XgsoXb985JMAuC1pcTat+kpexYyrNX/J0VoyG9tqBtU0EMgP4xjoemA+6jDkj/Vtyd9ezZsOzAHpb2CCkjcJa3x0doPcepHrWU1yF5gNgWmyo/dXCNVysSa1EMc8NoeHXXYEBX6HFrOkFVSlPe2kx6ZYuqLpft7jlMM3ycLNZujxyqG3CgCOnvA0UJx8Dg/9VtB5X+En83hHlVbcTK20HI38ih6EUfQ5hoZqjhQIqxbY6cmQy+vvuwO+N/x3nQoCMDQEVPyOzdDLoEFfe2lyU64i/y1IVDWPkDcataplZnFOuqQj31ucOn5SBk3ysAl61n4Dj2r+93riXjlF7Ve/4/lTZzlwwUxJa1bKiQbARLHBkSM3TmsneFPjzBDcT2edtArCmsvAUa48kZ54HSA7JGcjoWV7+y3/aUT/mUsQVLvQqVYHL5HijWx6BExJ8RUGAMBnqMKYapieKtQVAuOngTaJwiArsBEhdy3+ScxM1QtOy8+7AeFQC5cW1Oq6/GA+cMFL15yAa9+wK/0z+MlZWg45QYuWZCJDwwfQFUbQDp9VYPHcHmKtn4JdOG14s0ZG4LeFwN0VNWu0wrnHo87qUNcetHurYwIxHRdYimfBSMGPsr9m3vDwelgLHs85NXPvLGWCwqoqiK7MabQd9SN7iGeltb4fJeijaHnYIb868wpIDMgdluXxpW8a3jmx0007MDkwWgUmbvAGO53ij0KxOUcBYJz+so8/Y5Yfaq4pepKazTFk73FK5/mepAZPru5c10AxjGE5HGUTNshihwcCjy2Rq4vE3BQJ+ryCBGlxc2c8OfuOvuGYKNg7ehvTrZqvvWc7zNOO0mjNJr6yiKdVBjqagMd+Zt6zXukgKP+j5raQhjtpdNlPmwfseEHOdR/92IkthdYlkoeTYEjOhIrh/hCISlw8mU5zpjk0n6Sr2y6tBR6jhNNgTAdm6y/I3ZVboO+QzU0K+LArPXGxdAe3WhupE9QO+pXVvdghCCQRNHkVU48aDpHRWHigWaq6tX8x+s7akzpwq1lyBPsTIU2gSMPgWYzGY1tIdY2kSj+M03fgKhF/Nk1OOY/fTMLyEpG5+o+RXH3oyC6stA+asPHgHCecoUshpKISOcotNPYVCHcn3FkHXbFkmzfUDC7QwwF8TV3v18AcODMXOAk+CMGogX8IDt1vW2DcKHI0P9aR9LEtyUugl4jetBBB2KI9ul6/votkMGIxqLO+7TjappKLrBt9iV/IISPGJ3bbofNTGauzuEZzIcSKSCBgt7Y2Wntz1PAfwcy6Od3VJ7k/xgH9iKPUUhEfNf3z0a/JlsYgdArd4g0EYSCa5MtaaHnnFqO2BD9Q8mDDLsxwlT5A7+Br/7hPk2r+H5dU3npHMzannhrDPpESMqkfr67BLjILS7Q6aMdKK5W3h3wiclXmKxPXEONLtfeKHKWUPSgBQccBPKlNBipgCJOklbZpBegLluO3feeU0qr/giMOpNMN/vB0NPKDmqlvSIbHncdL9RBUW4y9u+tJRmSqxhdu/D3p1QHGi6E5wUk6P46Z+zW3PzjrNh/NXA8AUzoFeLdcQ++5+QY3cncWhiJibdr2mek9RwDU0806WW8fSZ/AMisre5kUN1ai7NoamTIDJuirjzjDO/hqQKE2S3qcn+7yWpjtFs3ezH82tp/Vp27kJNl15VXOKRKMMiFuFUQ6iZIF9vY1gcyrqsGnRQedniuOFVsjb+1jU6H+3ZxroZg57WPOnzgI2wzoJ7iETNAmj0Zn/pXlfd+aw8L0Q1sNJaPIS5Tev45d+17xXHZK7HEQVdbZNR28ij8PVmxBv/5yBQGLH1iGiBb4kf1Pv+rjNRs2ZiyklHZJTNcmnEGfIQUboVZ4LIUBkYdAQqU4/q2VvYs+tVF/26tczUH4rrAWlZT9ZSnms0xlGWbk1VADJS756dMB1RQ4v0DRo535yc1uMCVsHLPwfRwTdyW0H34B4SMeXNRSdgFq7xu5tJL5XkJsM0YFxCWf/ikt/O0MJkNYIsrTuKU8wqNwfFZMVdTdFHLgHDRXi46+WRhPVOHvXH3xkpNyTqc3NQMCSipDsOtzJsxnSfxA7cw59FH0XugWVu70AbtCSDz09yrG0ys+mCLSmE5yOrb07mttnzeILSwRpBOP3DUpb+XQ+aRlXyF3Wq7djwHWup/wAfDoDZd9xyoClHdQ9LFG76cvEjWKj1R2WbnQoorI1X77GmfID983+xS/Lcf8P9C4bVi4n6oFl+MWIm1rRI4/gLT/Zihr/YmH9VGEtWNMQ5C6YY6COK3aVDNPI1HWLURJveGkLvBWu/KOvi802OIafScPheZAnsd2ioCvhgdQcj48NPOy+hCG2+ZOT8p7CnpB8MZq14MpdNGO9QV3wQtW06y5JbjK+uf3JXWAYzi/DtCNGHOuhfF/+sktaCH/5LCEQPRValSZKq/++mhHzmjxDd/UhGxBTE1el7YK6/acRfa9dP2nWa/e2i3gEnQO6Fv9BkS7lC5dpCiotqgjiYvtxUhGDDjJZIOiUSgVFWHb0E7ayPDnxz016K736B0gg8FbKVvq58YATPgTMCK7f0LEXrI7lrzLxLTsKLLqiXdzk2Y64L6WVUtq4GXu/8Mjzc3EZC4hjpC2Q5eHIKJ/1BeqB3cg5VrBw+ukpKFVn9l77RfZjg04+seeNwtmGiU83au/WDwcBzJP74bTNstBLxLxd7zbP8sgM0yqd06MSytfHe6rYNYU13Q11qsE1B7fhjCemky/EAHiDzRY92KTQp5q4cODhZuynwQeOuMtNWK2KzjAJoQu7AqtlGzuXChmq6dtF2BRVTKP9fhXiA3OkcVNXMK0KIMYmln+3Mvp9swOAPGiIZ2HDcJ5nY8qdax3XiOPRFylqd+b5Ustv8ZGFD3gUF2kYj4YO+1yaP8PbGbBoKp70OiXZmDXAbnjYXB101IXtqWfh+uwjZPzWOxMSwhO0ZSX0mqQ1uBDYQw8y+k9ji81oHZrBfU2MTFLwxc3HVnZonJxuPycQWpxr/aIZ1KZFl21hyIBf5nlJ3Rdhr0VeH5SgBirI99td/wzVZh4NXsxbTgHgfq2PmcQFlZcNZ+6qdWms17Chdrv7X2CMQF55FQfKLX/Sp433g0dmoA5Wuar1g+4Rd1S4S13RIqQBOyqBy2c3zkUHDWUpC3BM6+23I0b90Cm9sdfAygnS1nihC0OF/xtxWIsyetFibu/RUt+9gPWxSxv7qBwPdZt+Er87+z5y4K+ZpqvVbHaOVxdL05VB/HDXBdt7UvhfSdm7Mt2o2EkBsE23iyJqq5BkTW1cEBi5lnMZeH+8ryoUfg7jF/YMOyVwqrbU5oPIh43tCZTGdLxk/uME8XcHEdnetRrL/kj0GoOFxTEmQVqDhpO0c9mg6YZ2+N6iWYCpMv1BMaG1DC88EbXwc2lh1CRSP7qbb+L2N5V8MaxWcNfzVtTPStt0tUNfhAQEKfJg9mF8lFsDxhv9Vlo908rKKmh/tvW3WEuvfzf624IxYrKmkfCNWDEWPa36k66RGTl0P0K/moWb9+2o+cAh3f3VyJqsmAVvWeVWj3bbuXL575D6qgArT+hS5MWx0kjM14mHgbYssi8hEQg9QLHb84A1Vot/A9SZY5SDcbIZvIHkxjyY0XgMxLU98Uj4DdzDPKUpa1/VdPr4bc3WQLNzfHjV9retjdNNhg4KxZLKxfK+a5WxtZFUF3yvBHSfPa43+gAiz4S/b97U3DlETL1QmYvxAK4HVunBtPZpO08UOFeXsBXoyNkDmzNuc2k9/ThBkoZ/W437tcHAAAf5EgVGUDay+cnew/zCLHdj+Cdo/uCPnth4tSSpPvtwlh73pl6YwgC4xUm2QcgiHEywy7PnSZxbYSiPzBRzPC7InjvAN4y7+Cue82Qv/WesxhQdlEJ7HLnkX46OM4cgtqSxOARetmpyTnwx8A6JHtrhX49YEgRmUM3eIwSvLoZ06h69n+JeuoGKOfEhP/xsCeQm/0EcE+a28x7gByfL9nEbANL7h2UfT9bcvO+6B+P+pPyqVjS82spuR0Db2yyv0lIYa/26lpmOrAqU4g5Y573i9zUuEoMiCJjKa28egecnSVO5Na3JNxFardUJe2YGReWRXCkgx0YX6LD8DXLljggyEFy+b27zIs715wjWWqZ0fcA6DePAHyLH+HbUzHDVXZBTm4yCwzOIJB6+xBXOgChfG92YsfdOkmMMPUH/TR470zfi775OR3Kh1IgHCmQz9vdu4vKCBukAxq48ieweWm0w6SokXB2odH6kE4tqR6NrPIJOvyM7+WVrPCZ3z6jhnGo6854XImUNKvhOuCrDs6joP+VLGvU3ebKyTVKR0IBud4+VJGjt93ZdhkbT2AYu1TdM7i1UqAVB2vdT3xjZ3ePh8WVLUrobPrTsogGMr2oZlqhjIyvkVTWavI3eCWMkoFMDcA0ZnRQEBWOs0IhNsLsfiAtuepQ+peTd5ctN7kg88EIG4CYl7HiiBQ8O0LeTwVbWjtg5jXIEW1iyLc0NdaYmhMaM7RiXz7b3JXRNV4979z59RayCvXcH5rimEzDJXB1BCm8f8L/c0az+VcgMDb+h2qkGb+4Nl2PeXs6IdJsVkFmSiE9uhb52+zNdeCuFfhtnhx8KcWsDPhGTkJe431GWze5sQx3M9RdbD696sHV9TrM11uU2OeVRHoz4/qyz3EoZy2/XfC5M0CibJF9zifxQ8kvoUvFQ0Py0j57lNFXs90NhkPKByPcP1lQHluotAPOFzA2jsKghMWQQIHOxgsrRc8Yl0cNxbXRo+ghGqD6z9vGcxpoxg6UDe6E/7zehuSf7s8r4mx9OmBF86EZ/TgRR7qZfon0Wcyio8TSXsQq8ZoIOgT7FeGNhYXQBZjNg8t+VwPgJS3xpUFXwIOTsHn1BMsO4aoZxaCgnDS8YPHpHXmqjlhjxrVQYSlYX2jMRGGlmNFyrULjdUblfKkhxcTM9l6CWGBepyAPWEFtiyUlg2WGzaSzKYK5/rx5Ns58wgq8rGYwLtbzfy5/f5mCeGJCQ9hEAxXtsOawA1haUA8Aga6hP0I+0nRHytLoTxXijttdfPVde3vAcdtms9zaF6cKIVuxoMnBE+KBmI/ykNRgrtyWaBfADiWNLtypHuO9Yq+KgEb0jjxnuSxrWOW65+CxEDinkZUIjgL+S5PCqiUTiu+hvs3DDbTTfKV1SMXBb/AuhUfEtapVtJws/2KTLf6TXVRvPi0jYw+ep04Pv/EMuy6WrAVfmwuPD40ZqqXLgzCIPorWZDFeZ6CFNreDN4kyAILpjQf32x46fEcWmTTFp/gSHabxxD/BoY/JwBWLn4PwmkaMHmXXA8mw63Weq4q+gYibeJtqN91frwKzMbfkFuwhHbnjRQI7c/HaK8ldQizjpRTdIp2MkKdNroaiRf6i6qAogcNy55VBs0RtLsnWoGEYtWZ/ZOp5/JOaaTNbk4VyouxwThKCXzozJoYQ7cCMxryihQyMILdaivzxaktOOWUomqDkzjq9ltZFZhckx1RUb8mH++UAJEHhPzqqnWrkQizF7UyCcMWCjQHlLb69P5eCRLYAAwLKYv+g9L0uGGzxRl4diX96YGzRxCs/zlTxOQENYDNbkKtmXjiBIuZEZl07oOBqypjoyk4rmRh3mN9M5djVACWmHcha5ShtQr16YMwInHjDZMTjxwpY1nR4YxPn/7F0JDTbcbqG5/c8VKTKAkne6Qbd15jJ/45ueL0nbZROj2Lp4Z4tD9eM8JtwocXu9eHYNB6TPWAd8ChjirxRuPKrjrpkXeUVpwLqUNQuBhh2RV2LaIN0Gc1rqwRNuiWExDQT/taiILqU5zs95lQnhDxN6mIHmjBGn6WPSdlljhpS6CosQM5Cc59PlaW3iPACk0i1qUOq2g3oXD/IsJZab7TlQwikHXed8LKgf+WEzxAXf2iAdclv597yXgmYTnAKUwtx/z37B9xQtTUsICaX2EAmjrTegAYrjubjJJAcirIsXNRhJv74YfRn46EVhgPYLJckohWyOK5Ec7wXTUX99suFFW0T9SRXDfCaxl5DhnOlNrfaFDZFMv1bgaGrr1WcvEcsdYdzttZhW1p7HQ1XPGkKfvGEAo4EPrdD8rYnbFMkG2JNyT1sJS8D5UvEP6jukjZ0kkrZklqZCIi4fHLM+FDdR8uhwQGJlzyMTLkfl5DmAMcObcPTaWJa2nwnUJo0y2jbX2uiwPUqW290vFKLWcdPJ" title="Mekko Graphics Chart">
            <a:extLst>
              <a:ext uri="{FF2B5EF4-FFF2-40B4-BE49-F238E27FC236}">
                <a16:creationId xmlns:a16="http://schemas.microsoft.com/office/drawing/2014/main" id="{0A05ABFC-C3CB-442A-B690-A56131434CB8}"/>
              </a:ext>
            </a:extLst>
          </p:cNvPr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509021" y="1663819"/>
            <a:ext cx="8232140" cy="4879340"/>
          </a:xfrm>
          <a:prstGeom prst="rect">
            <a:avLst/>
          </a:prstGeom>
          <a:blipFill>
            <a:blip r:embed="rId5"/>
            <a:stretch>
              <a:fillRect/>
            </a:stretch>
          </a:blipFill>
          <a:ln w="264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6425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91487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MRUCOLORS" val="&lt;?xml version=&quot;1.0&quot; encoding=&quot;utf-8&quot;?&gt;&#10;&lt;MRU&gt;&#10;  &lt;CustomColorsMRU&gt;&#10;    &lt;Color aRGB=&quot;FFDC6D00&quot; Intensity=&quot;3&quot; /&gt;&#10;    &lt;Color aRGB=&quot;FFFFFF00&quot; Intensity=&quot;1&quot; /&gt;&#10;    &lt;Color aRGB=&quot;FFFFBE5E&quot; Intensity=&quot;1&quot; /&gt;&#10;    &lt;Color aRGB=&quot;FFFFC48A&quot; Intensity=&quot;1&quot; /&gt;&#10;  &lt;/CustomColorsMRU&gt;&#10;  &lt;ColorsPatternsMRU&gt;&#10;    &lt;Button ID=&quot;menuSeriesColor&quot; Color=&quot;37&quot; /&gt;&#10;    &lt;Button ID=&quot;menuSegmentColor&quot; Color=&quot;43&quot; /&gt;&#10;  &lt;/ColorsPatternsMRU&gt;&#10;&lt;/MRU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bzKYV21T/xr6wEPogTf1LGkYW5ikNpJn5UamyRc21jvGkcguZY5RUH0arRQZBiRCevNaFJbzLRgL+f5pamcNZKWW+UPhxhxpn8kDiTfo36lFmVU8qmCGzof9MycMeOHklCfTfXPuPNsR6yHQktVvusxk/JOO8w+C5CcxxyciEGCoX0Z8QsY2dL4FEg4xIkWOLxVBg22pA4Wzlmy/jCrwXwrMlV9IhlPD6P/hPS4Y1k0ES+596Jc7ma0bjWVrnnwYm5VSDRCetfKGQzLX52WBtXSV6c6+gj4MPREwxRvoYmXYKIY6q2hJ6vDIUzTdQQgjjYVRLjgUllkxBxQM2phBALbl06hSbHaLi6NN+BTkiDRpGOrq7A+1yN9w8qab1GYDDhzJDan0s+k9Xn2pJp2gTWOjVBQvjUqcO+X0G3KwyDofywwRWt8C1PeLrrCPuTtkRk1A6Z/Iu7ofVYuHoEPRyxIntvHgVsBQZ5NlpM+qX0A9P8Oo4XEjoBRjJ15EFqpSQ9/nKOo2yWVNvBgtP9cKMlIxcUR6YbNAxLS6rjM4pV2S444devDovJzXWEuHv8sery6BpH0+0h1mV3bPR/Hv1T3uf/yKijwf25FMpm2UmdZJBRSdxjXhuuGlEq9o9YEY0FAGfCowO71ipSTlJNrQdY07anTxhQ9IID6bXs6T7q/XSFu6aetQ2uHzGqbFLsNts5gk95VB/u2bxkn9JtpVnY0Ugk0PX7vb+SU24fGS50bNTNxPazACiMdJBKzHR01RLkZbQXoTehtztfnQGvt3szcFrk7XG4OSnmrtRwIwXdpxrrtobFGChT8qIcmXHHsTx/KPCDpeNHWGWSTgH+SlFJIJHsK4IdEbrp0oSU2NGrF0Bt4/hYygjOYud0IbQtO1MhuRt3L6/zlcevJmhU9yKW5PkCJlBIcDXh6Ob1ZQ9KnurgSwg9tjDXG5TkVQzj+aWWyRUaF0aAfkUe6mrx/vAcezVu/t8fEPWHl8j5ehIZFnkUECKAUuwvxh4CFA9J5la3+SeGPGTfRkmkPY2Yek+d9Ga+cDF3vLw+jPDvYbogKfU8stUe6cqpcc17XUHCrM+zNESgLx7/cNmykXVM1U/kLA8o7Pz1QT2BI421k6gr0JYMLlP2Y71aWCtHBuW/U4/HR1zv4O283AxwBUNtFhKujefayeGJuvsZyaE9IoYya7U+OslDP9a2nScjLT5sMgfJ8yp3bGfWeaBtuo/uOqe85/nolAfdmv4rY7GdxbsUgILb8Pm0IjYtWN0264kz6mw4LUM/L5bAZYOfUejEidMnYl4etB78KshGOB5FK+kslpbg0RLZnP0HCeveYM4CskakUG/mIvhFeekIBwgaBu5FgZgx/KcgqncV3+T7fUA4non/JVcz2dMv9dPsi+k7H1tyA2609dxEYu45GNsbdMLHbX7jHVlN91WsQS0FySMLAwvEHp1h7Y4xdlwIuCGILqjPZVFFpjlFuLjJwUV1u+tAErON86oL6AVtEGzbL6DhW2vfTH4IK3hTI5oM+keBrj6W/j+064l4vRC+pq6vA2wNviASj8u0VppYc763tN3G32RdzVXrOHi2S5A2GhTHt5HC7OGmUaXgEjF8aDoCxp2FelSGwlKke7NHKYrVlTxmIvAEsMdb2TejrLx7zGOMq9EHS49i+fDu3o5UCvcrzmYEC4QlTti1U2wCjTVOeRgwEWEx4OwzaYSopkELbciCJ55dadVH6S2ABP4mwqh/cFfbd3MHJz+I6uk/VVyISxBbJ/Wn2m4Y1qcYSfcDQMQ4rtX3Ftr+Al4NMLmtALpMJLrK67Ifn1bExWCQqNWEL3d3uSUuHrVd11rq8MgpPGPZv/neTMHrqmLkHIraSdW91DC4/ykjasyKrchsinUbS3hLbcgvFvUrb88WJNUQ1mmZZXF9Lh1r2qVJL1FNddTzvsbOS3cRERQd1lI/aALLKYvkF3dRrpO/JM9sHanBgIX4pWMJampm2hAX28OU+SuobRnu0J5+2bB9fEUPs3mw9vACvH37cDQxbT71JwKuHzJwQmEbH/wUBuvhu/HK55iFISGTTD2XQoojV6KImIAkOppf1I0yzWX4oaFTbYeMUCl1nNQW83oYDFNRxg28yZ7wWllMeq420gleMk1ytV6Dik+KJUJYDokkayV8XmXQEC5jFWWoun/IA/oiHQrzHAKdRLdlooFw6fd2fap4blGuk18qpJo1Cov8lcFF3xPlnsPCaXGl1pP3xUeatiOEavSCB8hJy1m6OsQq5fdM1IyEF6mWMLXYcoba9oVaZH2+MfdLRe350GoTNlqGqPsRPc1is286qwlm3fQKKRGMFCrXlH+w7pWtAC3+ARmbHsjsMdgqFxW4cuYjBgweJINQvnVrEs7F1Sx6nTnR9S9tMeq5QJKS3JTfCaGLqJsMv51ljPljEcQ/UdIggCq9ozZlJUzHRM+IqvQj1zwb+2YrcboGAcRSlfx3545qUubtXDvtmGxtd6qf74JNDwbYlNQooaMKEEscPf1KAZ2pNOHdMztuyQCxbyBkOGFgLC/RNeWepONOGM3kC2Hk+ZQhIemB9JrazhsetWMUDNRa/20rNna7CwLUd4IKeK9Qk3LiNmbJAAEMtim3hFV3ubdC+MfrivAjsieu+oALZ74Zf8bPib69v4PyMzyWtWGkiJ6I0+kfhLnmt4QG6/BQfn6eMgGk3j9MWh2FgqHunp6pK2b7Aqsy6ZK1vO0vDxUGLHnukCuQkAB9eYUA8NsRuGlfkkQKUtW0SH9s9J4s7MoJlNu8qN+K6wFE8bP06ToSjO03SKZWL1c5swX3uEL7Mo4nILirWsdukZYrCDpAQb0MEFtwrlkpnPsEkszUoigTIaS2N7OF/TMRwGLDV8MzD2nCroMHnNUel+QALcSBMXzXwQ38WtNpC+LNPob+ipFHo0OVzDDVzhclCl9sHPlqhWrWIF6r9+wqcJwElvLXzwfRs7j8IuJ1hOL/FGauXAAo9ionkoTxz79JYH3W2EYe+Fsps95kv98edmnjIhfuTSBEM3XfF3CCkN/Mg/bReDMcgyMezmCsU4l58EoRQk+/42Vrp0p3ZfAXWgyvGZvjZ7R1hO4zuYT3KMlZ6Jdixp6t9HCSRIXFNgQlD1NJ1CF9D+OsBsEBSpGBW67TD1Qb3+CoFnT4krVC4599TL0YxUFJEmjr+ssfMbqBKlZmVEoUoNSFvofumKGbPxNwrVGnny4QG3i/vDiu/qhdt9EG5yURis07fnjZh6cIwuMaNfwSui9AH/3+Ou36vcM8bp842ObRb97vibNsUR0w+dYZN/MQl6oXvHrCLQ4k8rJDgtfdhn4tnXMV+Rdsfy7aMH37PHOfFEp1zBRLvHFLcL1yiuq8jiknhZHEuS8UthDmeD0dGIjg2AChcDs7+WqJ0IUMjkH890mF9mJiBL/mdXy5b+7eDEFqpcUivWx+6DsEokkQOV9fzr55U+fd2tkZ4s+NV1mz2ASNx69bXbJLXOMEEAvGtpBmPUMfrfLOgW64tqiyf5/679JCzqzszPQEFwjKzs+xcUStjCcKKgQrRIA8nZPHdxnXrtN600+SCXtHR2XI23K/s/hn1POM2H9PC/N4o0KgN2JA3nDE2m1mscPiFlohkcJxMZsuPljUyZC23ofPIGg4Xt9ptEJsRNlF9N3R+cbEYZFf+P7+RzYst2knTEHFYeSVzWHRsP1Jy8Im5cPjheg4auJPzmF+9bkct/Zh2ZvX9jpYXC6WziuBH2aiPoCY4MoVlwdVIe+PFosfhCFZZuupPbiXyAIE9Fj08t/dAEDgO6jfPyrfFOPoBa6wSIIr2WCw0zF4doGF8HlS65tLqiIGZePcnF8PzQJyiiWq85wTep/uQ6vBS98vxH6kpdyCXjxXGKNHQ8v1aYmVCeDf8gpGf9ETYMgyw2dyrev10CU5WdiCEP2Ose/zZSslaMhNL8a1T/i/PVhr0NzelsHzJtTYFJXaZlUuzBVRHw+vDwunDAfeaZH460RcQJiNmkcq53d3JoipAc3wStwmuh2B3DaxgbW6gt1abCpxyK62e7qD/FpzRNWUHqVgFeB0n8WWVz40kbJFnplLNGpoC2vqrpxpZ4C5/Pf2W2sqp/AYt7e67RioJE3piqH6NAS9h9mjKiPws4AsAOBMYpA2v23MPW80IBHjON7rTfT9mRHl8IH7YkkxNC3la2ERDZqA6pxZRIwFtY8rZDPvCmd5eO3uc+KLP+jLnjJ7b1qH7PisMHjPPqIU3PyjL52HcyRDBz6gf8wIZ+e6/TJzMLWizNbinD6cFEBvEQArIvqcbShfyNdgwqulDEbrq7FPQ1GHgyFxwUXs0a+ZsoN8xipwtEUEEumN7RdIcaSFhuIAEfry/p5/NbWTfQDAnaKXCiRaPu8TAoOH9TE7toXRcuD0qeypkQpjvnfml3rZOAXsIaKo089+IlRu6w3AENtuNHtb25yeiOAabcF8O4S8ZdPjWobcAuvyPClZE5Pzj3dxNXWn/thuvVHbmuvKp6cTitaV/B1PQaOG/F1TLwQoREmMdq/G87K5Bsd7fVQC8eQDifVGFju/1vDk3Sx3e2pw5E1bl/qxYrNhqvp057gYH3y5/V8jL2SZNhnZB/ATSg5KdnjpnxhPKnCXGJ0W8FbuVsVSu2/20JYkkVhiKEAKocanURIAXxYofMGVprAjpNpQn5crrtzFdMJqSy+fXVKKiRQagsm6IpZQz22UQ/oPqzCqDPeRYjWV28tKeRtAugnZyouosFMyC+MMKm+Mzen28VDTXwRFbcOvDCeeCZP1boqhK2gNkP6gAotQ4KzKD6Hdq0vwtKAGDUByEKUbJ5gJb+yfRW1G8p36x4IRmvBQPstRp7K/jbf8WcWUOxqQa0LeZj0sZ1BEYH7u/b5Tz7oyEyhhbffSwNmZkDylmKsqnKesBiuu0rLIFWYnbzhUTP+L+3+TU0hrIvmph86tta6qm9BR3Rbex4EusPYbiOM6ikmWFwjS/fnwdkcgO52+O0TlAgq7xla5np/V7KQBePT8NoAE8WDnlxqVzoUP9irxymeeawfRmhqF09O+dV8zMJoal89wPkPwUuRH+1K17IqLw73Fuzjbvql0zf0Ny1ChE/TZx7dNOYlr6flSTthyslagRApmKkWsJBabkwHG+sqdCBV4MKmjA8Bj1InFQ5E+091XAYh+CsIWbvGdfVo52aMr01mcG7QbYnrZoxw4WXQhOzqVZe/svTTJI5PLGslvl7B8xYDsZ3wZdcsdDmcZ2ebB+ja2FMD4YgDxTa4XK5mv2YUyP7xquHmVSr72OOpsmXyRkV/hzMNYSrj618d99XMWPvZvqUlR/JArlWdAE2A/KLB0yH0vQ4tuZB2aX+uSBf7Aa7CzLKc+s81kN5rpVqlVByvsCTpI7x1evCyF96KlmCXMT+HGaQc1fxXl+dAWBjMbO8KzIMqM5MI8+jQiN8jMFuXdRAYr5q5R7hRZ+3fexQ0CiFYKEXnkAvTj68wLcBDsujTCQkN/2XeDTurQDkpRpmIyl8Itr131GtRl4NU76yU/MwDEEW/sI8IFwxLxXCu3qZOC8Ib6xTHRFCBKwDvMsPZ+ov+dth8oHRu6rwbelUbgFnqQetQS0tSNfR99I5gO60oY/PRf0ngrRnsriaMmMG1oeYpZ/FrDaaLlaPCuJt/k6CL7r/Ndg6rigx4n1QLyKi8PH9G9W3jCZS3nAGq5yjFBgRt8SGfC4LzogC2xSJWW1WTKw29LLaO/E5+bgbUHOQL6TW9ReLBkdNj+uxW/iWP+oR6WkXx8yp7jw4FkjUlKCuQnKUXeXqbY26KbCB1Q8ZrapQg2YS1lzVojit0DcK9Ik8Q5MN4v6ELRmf/d3ZDh3aVw375FJFgb0rZitO7bg56+SMzntRg4o1UQqFbWYVxj/1I0olxTAt6R28siaoH66rudEFo+jHQ2QFhfLwvU/gVjl5UQ0Zv6foBVDZJYqxrgRbNK7N8BMbFA6ukShN1HmlWTuuxI2mD1EJBKgsO35yYdruWb+ahbg4DZf3qWeskwaYevjVbJ0Pog4z3EbAnDdr7Nv6hRUFZDf0CUcX0w8w3+MnfBeHdof5w7TjuVILYOFLNiroBo3tyPO9wMv85T3sH3X+vTLRCm8A3uBoqzFcPIR+7j9+DUZlCqLOe8Z0UEPFMy/v/szYmOZr60Ungfge1skDmlES9OFVU3ffg066m01gfW6G5rwQ8uVNsjQPTqghBmIgbUq5/ZvAxAmQX+MHoWE+S+N6ao4Z89tkwCzQYC9odtIZCtYgudComxlKrl0YuwwHflrypuqoGQC1gkhkiohKsvWXTHbrR5RaFkbKVanjng6J5Jrg8sMwM5h90DMKPEW8L+T9YPZLOJ0p0jCZZOl0IgYWCMkPnyfc/Q7N8JWFiZeS7gV/I2Io34uNbdih8VYSbQwidI3CrB60RurE5ZP2Zz+2On6GHJEtUSB3ZzaNIWvW22T/CIlw3z3mn3Vs6fhl7yvrMaFabV485Ba02ae/gcl+Hcs5M8xtqxA90tbVcLXuU5aZaBCe33n5iZKxsQfRadtiDG24i3ZyP9koOKqv0xLp9qujCKmPuexIQv74NostRBuMYafCFuUc1h++Q3oIAjUSq9Ut4+k6x9R1bRmxFmRHMkiIqBREA+Dl+JbBgc74V+4VeNHqiqY/CoIrycIDlQPwLV4BP39JjAJ3Fr99aWVschz9vxxSCtyt0H7ezPQmuXfQ3kgXdWzdFeXVlUDmDDN6NaY1ONtg1nt/J+aFQ/uNqlEe7xd4mJ543JM8S73PoYzkWow28BJEGvPf9j0h34KfYFzYPPIkmfiJpgIizAC34sEOJuKCUI9wi+ykgDmms6wbRzt0NTp4Cw+dtzvyaFLpZya+GyJKvTSg6YXpg1CZFlnwLAbXbzfPbkk15RZO2aUZIweD8pQykenx61T9dQ6Iges706GTsFypanR54nDf6Ny5J9tua5BoAWGeWCZwXgMFhx9VJLtV8I7Sn0gzqv3NkspLrH8bAOLb8N5jjqGLVidD3YP+1ZPM2+5cfW2d5yTKXf1LuAC0o7cwyuQzOnuhSHIIgR1GPoNZmQJSxBTf1cISHDwVqU+UyzMVV4qwcqGsZrWGZYDM+InKLNGKuq8tElkJl0u491BNqrzIhugGmlnlnzybLH1or5IdAG0pb2ERZBA6N/64j28SgbN85ljFFvFFAX8g1OV+GErpB0FLM+VssYQGb+yzEevQTEbi2yCRVK9BTROfUb4jit2l8bt31o8OsYoQRWQ23HfgdHW3tfRH9AuW3jP6NzddXNQ+6c8Wrf1umfhxvXpZht6T8FPuxGr7hl2XE7vjgCgq8TCb9omD++u0MY8HgPr9q3Vihu2fEWmrD12Axw5BjmheEKsFm1O5fJ3bsIHH/3r2j7MdS9bLv5YI1igKhRuNVZMw/8BSUo2kzr4aWY+95LMdGo9u6uci77IglzwP4G9oyGtUZ7Bq3q4ImkZAQajVXqSRRcpj5uzrYWgacIInqVjTFZp45BhGomxp1wyDJhru+Ty1YPyMdjkYKYYBQ+FuL1t0IduRuIgKCHK+++PhZmUhW3IcZUZkOTsvIAWNpQnfkv83ScMAXJG/zlblTtFwoRdoDXAN12pG7OHL2dT8f+emUq6KJ/gcVoPFBe/wdEulR5plTDTcBYTPiguooJt17Uf+uw4G2XfCdGscA8iov+0x9t7E3OvOklfxZ7GICWH4lzjf6uALqnZWf6x9y+OMWDsaGc0kNvsqLQ37p15grmC3R968QNJvzQbeKEr+xvnYVNE10sV7mglFDC4XJh7XMYUtw9H0k+KUtdHXxfC67lWKLFHJ97DcMC6yPwO4UZICIyAF49KUj2T+6ScRux5snRAkTvTbfufawYD8DfAt6/rapcLeemphcnPtc/4hZcBIl/NaaacfaBlDrWYZTO+HkHD8N0lvCPwvg7PvYROCgIcAN5VnQS12OnFORClJUxuzhFS++OtncbmpI9GdrgY577j6k7bKYnTFuYWPLQSaJwMb+e0GBDoQlF8HqI5eTz67fBmlcUPFoXLcLMvI1jBXrv7bCGM7neCC4fz+TulX6mRI2/emr/ezeLm1r13c30T/0tE8P6Gs46l5cZ4CKd4oBiBqIuiORSsQgcKosgEHuOH8BCPiIWI4pFTOCdwzpJ0a8RdzAYUVxpnHUUiOJDQO5c7i8gzoqfWxx2O7whioZiGyzRiF9e/aFiEdFcm7l808HgoeboD30sQhMtqVx8/X5U+s3cbf5+776avv1ibOqjnPtIPazj6OyfjFJml6tOOngKNhzdMUeDbYYLqR9Q1uVz89pVBqo1xDhMIdloZjvWYe1MK0uhuMD8uvxwuLXdAQrgzJPvwKhzfHfWSJynDL+BSljhMpWydh4TKrLdlXN96umP/AGd3e7yf1rAeGe+rjtiWAK030kUhDpY/taIRNOstanu/3N8Q8Pp55ntiXuy/lfPP6R7HIw4s/89lDpCj60yW7V4UOTxw/oPtou4tLwWigl+zdXWgdEEccVMmv8vmLEiz0AIMUo3NjrB+Qnv/wpESAXLMj29zg2Ptfe1q4yiesicjPOcn3x1qyCYfEZZpMsJDKgJexWLMVGBt8s7duj7rHaduFWvj5cEQEHRaD1laXxCeh09FpyjyKZ52Q1L6RQfzSrpNr24BeEAuWnZ9qTYb1/aGHbLZDcPFw7ABJOOi4UKJImjipmxiNVjP4pYw04hW41dxc6aG0OLosSwDdJ5BGw1ctPEMGB5UwAnEO5cpl39FOnZW662yzed3gfIsLX7dib/PnBktjT1846VlZxsCdJshDOt+fD/a6A6xe7cxZ2y4LEtv4osZ0Nsg23WKCZMFgEy/ztyshZReZms34Q3m9AyKP3aHWLK0SwB0ZhNfxEu0xauU/mKv/P5rtOBISC9tEyFgqbrMuI4BWKgIZcnI1PdjYfpEUa0PZH7bMl63Ki3phR5XVp5rhdUmmtSZtDw3S+9GsrBSOSiGBCbHydCRewCPGXoGC3x3HbDlM3Z+TkJ6KnRPamav/MuIJGsDR8961HqT0jYaThgZlJmkMi1m+JBbpJWZrS3OU8ECkrbCGKSFX83yAiw02PG4e4ctsGazlJ8Ax+tQ5/bq2YrkGNzOr6XhKfrt0O14ZbVYAMDecfk0eX32PkX1/S4l57uCvO215FdW96yTxDD+YXpdkEWLEtDvrAV/Gz0RTcY/UwJ1Fgbwzu50BtOg/F3TEru/Qnmd8bTIsOngC/VeYQlyC/N9k1GcOzCdmjTudlCEHqrvJ2HpzpOLVi1Jf0lZ3jTbHTvV12SCv0Efyz4457Aq6Ogxv6ZFxd+aH9pUX3AEyEwMIhFcZbhI1Z8Xri5CCnmh5fFjOmZWs0QTK6VIYaBVdzQFwVs0D/Osi+ZDuDF71WNOtMO/L9Q4iOE3DWJyxvmhovYlzQXFZIsZd0uNoYOFv6evXosmyDszPvyetiloGTJsT/+Z+nPcJbI7KBLWEWZpAq9G2y5nxy6GPKJoJEXNyx6/dBe8sKZo4uuzsdx/ZU66WZkRA+TSY3YwyK3TpqiDMopuC8Cx9ElDqlkKI3S8a5RqHAMQ8qkXbex885h3anGwXV9yDzvqVYaqTVfAr2XjCUmb9xa5FueZTWLHhsKtc8CBWGtxQw1+lMDNFUcd3IMIdnGZPqRKEtP+wq3HDmyvyLgfvZWPZTSnSdZUwqKGJxwojTHlQB2CUKDQN5REYnoSm5Ssgp5xkox9UoEgbjn08wKcDjQwRrupQU7B33V7YaI+VlU/9C2oz5moEhjCMnoD5H4blE7I7sT7VVuPqiJI2QpeIRlQLbrhhJejXEinChAHc6y0aE/rofn2eDz4bcGRyU/HI+1nCNTrE8e6PEt1/04IXvpIfn3X0RYUhuV2axWck8ldXuRAefraxmOwnSUvz6PRh0R0IU3vu3UK1lwlRJrowbYpO7DBRLx08Cf+QxQ9RlgL47uUNh4YuCoHjenr0a+vYUJ60NKM3PskptgZjY3gZDReG0u7tNfs84ron0CDQYhBCWq31foE4ocri+AikeKnp3j27B0uqevf9+UnH4/bYwveDFpBSlYky9o8amCT6zoXWfJUTQRrdzU0zumimJhYMl+/bCC828cnTLxqaY37mzWRUPnaSLvBZe5dhr4sq03yUtNnsh0JxqL032soYjS2ybNWDfZcCxoZFFZLIB1mS/vUJx5bHmBPrVHd+sxOTdMW4WC/PnNFYZsiXih37lQCMVuwZ3RthbaJBBzX2vuJXV07K5+lheMJceqW7QBhWTeYeGp7QV6pF+qOLQc6PP5KmKA0PpS8pXO+Ccgcyy3d2SJt+jy82tppnTEJvaVDcDTLFcFMNKwwtQVHwlwSiMMYeuMt3/riu6abaF8sjzVYqUkDs1+jmqb6A7N9BCTotsMKigxnsEgzFUYoZqAFAjTN9gVlaUD/1ltmGNtI1jOvgmGKHfFI7YFGvB3GbozSjhHs1u1JhujYDvtvaXTKhokg+f6x5VuhNu3ScZ6q+BnhOvWqs3IueD1HzrT4MGHAdH/ZYVKDzZABwT+s15U0rcsrktIbvQ5T59CVWEx5piGteTk4Ei4SyAFhVTndkwLEuG9lY5sZeLlZfbyK42pMEgUVEp8BLptcvImVg1dDXIGZ2/Bo+joHGGPsGk9+oNUxWns4ptGtjuJRopW13181ASKXgWTW5L6qac05kgMZt2vPX5lIwGCbUPl5rb1RzF2POg7MdOaBMkKKVJdNCyRKyxVBQTM8+CE+WYmd/unsN08oJKz7ay0tytH2cNW7XLAPff8xPaoHybmhbH5nSGasfnjFBfuOVLkokMmUyJBBS4uK82rlUBX3psgZ7uxy6L0cMKgknUV19JP92KV/18DdAwrHCESN6WCIAOgXTCPfqbZr+oJ0c3t+HpouHlpGkJ98UpEYS1yYm3T+GkCX++0YwG0JRigmQlThtK5vmxNk/UVZ0yPnoTngRcsMvxnAkktGzKFKRMwjkk42CKqbPPILucNWs3jyWGVjoX74BGHdqEG/YwGXRMYW1Ni4lg8TeP6f77c4yx6rxKrL7tD6Zhm0h3f1HP/FAg0fJoqwIBU8nQjARblLJpPbz0MYXNvhJLPECd/GgCPndDQiLOQ+9DeUqqRDIzFNTzVfx5TyV6ZsG+0A0VK3iz9w0OsSHWAktKRwIWXLC0VW/4HGa51cSSrwIwqlnBRIjICQOzdlI/PLGuFcEC2N2MQqULnXO4EZ3f0/7ISIEkAwCxfj17VC/U2KMdoMnnM8nYcm3HHmkAKtK3y6PH58rYuzycHmImCc5hlid3eZ4Of/YWQj+31vsWN9jztgq4iTTU3X6jmIKPxdPH2m5yz2QtaQcVpprEFm6b1USACRqYXOtwElh1tH6oX7MgUxUrpMAkLUbXXOQMNZJKxa0h5iYBDWvfZi3yZGMX173kBJnuaQas5IIDt78rL7Bc5qvzpqfdSeNjQW2GpqReYJKAm5UOTyNbGx6KdoUqv3jpMJjGZcaq+OqIL71CrkUbSyZ0yJKVe7lbnAMNxy4OFYYq4ztHCnMSsScg9TG2GkozQXO/cxV8PvOzrRVII8wX3Xn4ZDXOmnYvYu0dHx8vlc/SrP39lx0bze20m0mOb1KgGECj/CzOi2uY0H4zyXkhiTT9GRAoACGgz0kGEoQA6Q1lG/7/H5kjSYfoCWdz6juGAqNxurTCG4LcD3lQdSXtQl6mHryvMDTCm+EpfC/25I8HhJMzbcV1Xi13K+FrTe+i5imdefDDJE69Fbr3hpXd4zCtcDnIQAojCwfjbu7GXgygFh7wPbztnOiUt2tgUUULKoJVXzfFx3pHulmZqFiy6AzXtQAQhBKFdGbCjfW3Q/6jSwSmWhnzgwP+wam34LVyiNTsyYVXNjc4AjtA5fIpKeN+7gI1/vC+HkkAUys4X3xe4G63vo7KkUlt2FVh5IStOIlz7uZYUb933F0BlBgt8goX2Ib0+2D+aE9DYd9esV5GSiXH8597rP7OKD4MaI+wS4EdrrRsR1NnxiTQoZ1pOEowPaxxDLNV6OWl0pEVVZGC/V7UDkdZ7Ni6X03crpZgGU5eJDku0VGrg6KwKkc/0JCq5valUHwFE5B6kXS7dkkuxuoa8gnsvIsQeMxCDNnpCW1jhLiqk4rLBKCQEp5yFJzPIk2Y94bhFrlhw7KqEl7atBWHyKczOTygGqNeqtFHIvFSq4bTXO/WaDwKvVxb8xkNrbPX9tX8ATkFPVCsJiLwXn8bd+hZVyQM13rwnXKbnyZM+d5vQSkhYfJhnrJcaO3OCzn6J5XhJnOTzCahlzXXgykoMJPXfSAPiFUkNN1HoyKsUReFbE++vZLtwL2MwIweyESfymbxXIK98mD0rLGPBFM6NfHUTq9zK7Nh5A8oQHqyQgVZpXWN2r45BL7n76s+AdnogkSDqzVqxIm6zPMA7vRwdSnaobF/1G5mxXbFt3pOR6C++ZCdwDkrqXt+GEcy3e6QHNznGrCzUY0Nga2Tcw1HbVglD4SFJnm4wG5T8nTo9JK8pnCw6E4A9xQNhKpQgm0iTeUb2X/9av7yo6YAGHcygMWK4TovS1aVTsn+SDWCwcmUYkiWM3JBzpblSqKGbc68TnoKhJr+M/RbMx3fm2gGgzx93r5nD8EfiClicUnuAu5ZKDeZa1yJlVER7nNknVyYeEpC/BVlIxsAgTnCYxME75n6hM3uVgUltUhAWd+y+Bg90TbLm+BmUPvptO0YnYYHY/ciiNv9RMQjz82Ali81LGBSChS/yG76TniqZ1TxTNNBLQQhGke86q2rq6iZAj1otY9SkdgG4Kt0xqQrFClvWqlxdUIVXvrYKl9aNpBStrooFu4UbmCo7QMpCp0tu47E74UXqlPH5gnRQTTGnD7Fwp+6Kzc5t22/AU1QLgOYkKMOMvAlKzipZTPuCif4opw2z33sSjpGgCinWzDca6N7DDU3gPKw/fazPxUAZjxqQvpw1N3E5Apcfn3qq4a6J4Dn+cwHNF9ERFX4TfO5ULaSsT3dYASh4ZPtq+VvfDOHa74V2IAqOeHbwqU2qt5F5jt0Zj74F9tDRoog0BHLGu9my0t7+b4hSlwW/PGm4mF1AXuLLIY1Rgf6GMxpZtGSC2CmvoyGalksMy/u0kMuOj5yW9CfzqE5GfVAy96tfWZT2JxQAcaptzHHO1PjOXHRk1CdHBFMXqAQ1c55pyXRdIvblEJ0E6o55j1hhckprP8bexiUUK+UySFYdqCbBnfMuMr54qsipT4ASmH1mNm5nVHgEP1/C9hJ04FOG9Lec9BEZKX1PTG6XJaEMRF09KXnljXKFECqVllow+bjHiQOlcF1QhaXkDTukfkRQYg4UjF9l7i4rXUxOK/DbF/TEug/3F0lPDrnZLvgqj514G9x1qd7/ESAz+xn8KenMSo1sOmw1PMsf1oCKvA3ek++3ZL4ExnrfPbKoOZFT4Cf+AUY/YdX6XTIYRce/m7usnL7H6751uUtfhV+m5JXp+DGJ1c6cpL1QkqBtaiZxAFlTtdiLcFKZT8cI18FXBGDv67eNSB9HREvlNza5nZSDs1eFfkSdFMVAG/YarbLB+Z6WZzeqfFUjk2rO++IgHDdJ4BcscKPBp48XwxwapUn/U3YBtVmlJzTJPvjOj3pSgznNeyKtsnu3yBPmoO2kwwyUog9UlUTIq23GZbEj/DEedGwwCmuvVcLI/c/WLjPIIM/6IAcAm4iG/ggLkeZ+jU2wO0fa4FmNFwaj6dkA6gPwr3bdpfhMaf42W4o0j1WFKfBr0/6iA2I4XGqQDrkWjCX4sEnHdwoLCsQsBowa17UBOU/dYNImJiiUps2R/5oH71u7mCvMGeINlvo90XgHQMxW6WV29kooP6LGfXkV3v1q/7kvK554EqwQ/9TeEnBOYCOL6/MBRhhdLc+l1dOkrFfBCHsK6cevV5qEPuRKPHLfVkvj84A9l0KQGuho1Io2lQ6tKctd26DKxper8YiF62KcTvJ4bKP2+vj2dgjbdnvzf2V4+zIYVToh016CU+YwBrEQYFi668wqG60MDbFkyRTtInMp+5w5JhNp4cKw/3qTRqQIbKehSWWII1bTCn8zrtazrMTXHnKC6nt2boU/A2R0zShzlk5KKYGuTiVcTdKLPjrr90boeaspcjglhP5cw7Gbmx3N+PJeDCCcM5Qvh4LzaneEd3Q0ArPw9wWzBjZLFOvpBfYGZyQyGVPYxpcaAlWuEcEUB5C52nAtxS7s7/1hc2j1TvhGb1yogzSLHub3cOZ8gCjAdHEmVbpUE9AQX6pj8M6XDS3eNmlkAyXKpeJ5OkLtoEuCJQjnPOOs6nuMkEKeJqoleDcv2tFoMlcpWjAW0R4HPDeVEQICaaHmDQNfRen1BC9ElcTy4iyhk+20PAFvy4UvUY0ySM8RsiMwCqLenLHF0dlKobakUUIP6Le2lak97BsjCJGxDsN7V2jsHADANssPVPYJHcfBWw0TRbSuKOdnfIs2Wv7P4kSls7w5eKcuAdKSJybZ8i6Orix6XTG4qTRKNS1oMsexG/u5zqgA69ata0xL+ebx57t5CnkGfEyvQjrCNujuZOi1grGRqhUk85AbWUmpNrNUv1gHQfs67EF68x+lH/cwUVsQhg2a5/DFqvZvNqueVo3f0jb8HguL88yABYdWpSgdFEqeXBP32VKTLh0FQGrBNU0+U3RbtWT0JdzUXG/AUjPXKiRZVrYkr4IAiM1Oa3lsG+0AkHRKNefsZ1C0LEctDf4Zm7R+Y4h2jRXrb4EH+vCQNX+UJ9BOMz87D8QsQbUBpCd/kNNPzlRNuYla9s9MM4Dx0Fpp79DY/Z6XZrKSmC/J4mJhdjNXs0szs0AP/y5EWh/EfjGopf96oVzYH+Oc85dna0957a5e7bQ5+wKw9Nw6Fa/q8Im73kZBZK/Er6U4VbXjBPdNrKG5Hv2Oiidi3mKm6aef52ZKnb8FiiKdPbKi8Btl5PecVc4cgQueNjPjEWvtFYvT7LP2e/lBF/Nr3CmL5clPFIfGvLUIjd9yV8HMV0SlXinYWNqLA+u/kQoBYIq2lQ7qkY1h2goYEtHAlFymAxERiU4hqDMkTCfdMbdSgdP71ioXZhRRL1q7GTPwjy0W+ETQGITZZg+/Lv45B5ob7UE8S+7prtb/E8/AcBWs2T/cF6r06cQr1qr8zyNUHHv+9f47u+Z+jIkOwVuK6xurgE5nftYJbOIkXM5osrwgwz4QDqkfTVf9t0cLMwg0vTikXss1NmbkCpJHI65A0UIM382jmIquF3BMmrKmYgr3yeUQ/rJS+F880PU98izwVkR5jeQlkFld9s66UgcuGPI6o3YbAmm/7FXVEVlNmF3jAsW8AnNL8yZmmFr9feYR/LFyfxnmhU2QcRxKI6D8h5lL5yeu1RqxGKrDdKtc6/z4CXZcQCSp5+Yb1jZDrEZjfuiot1rc33mhwEdQRcAIDklt1XWATIbZGhBIJYKVR99zE6qFhZn1GRy/pmaOKdJTrzBYo8xfowxwho6Rw9mixlksQPbQPRBnJKgMubjYTQmQ+VVsVsjo2S0eB1S9uzDbIyHFP3jIgEi6A3jguSTruDJ3L20my0aybO0H4gJ1wia/k82n+FKxI2vqrSaTpCidTsuUNvrn7oK5+C6Rc3ruNqZWVMIdCoEije/bCVPTtHTTpSleoBJDYdN/lY0cdUlJlTMBilbK1oDB8MOF9QGO1MzrFbXYQdp3BvJUTjjnnIw80Ezx8gx28qa8isinW8llB8rE1JHggZLnvV7J0pM6/L6f1jVnZBiJ8YDdDc2ySWjvbAQXrkFLzhcvmWj2DxNrgElnuM/TrWdcJaJ9aNsYYIFgahjAKHVG6Z6oDRj8SC2Jig63osRl8zFpyalR1V8EgAK2jYpvZYfipEmZd2rC6h+3EBPDDPuZr8U9FfvzsMhqSEotT0RzC4OXrM48Z9Sqh0KvLhCyAsT6tkIFW/Yr2BBacAuvp249UbUbYAw8vFWGr4uRvW/PIYR/kvQ7Cy5wXTx4dpMFV/50buBYcDxfbR4ovcU1ACG8PfsZSSixvWbj7+EzvvJwSv/NPwvm8VXTSREZ3KysNRzT0gbT1H/nIxlRxZRvIyYaonwy4zNu8s9PO66eMd9A0mQA+sOuYVvt1ndHY0+nEFQ03okJnR6OXCyaSioGlEH+DYljwmL7JLjyZ3Fnc35EjyEwz4K7BXi9exaRg77IcUpiZ4DvV0TlQTcPcVbX8fx8de9jUfvdxQC07EClmXUSugCwh9BNB5k4dtlaunXX9exVDsN2Fl4bG0m1WUD7/WTPMbYDdbndrWFeRXMFw8oJgpAEydgLrthDitMQU+hBITlUezpNvdnkng8COrSouSnZGc0X9U0F5Vhp1IpWf/QmLQvD5leIXr7yu6rimQjj35IJUXhgLRcBD1FVuS2ASS5Jy3bxQlg8MZ/kF5yswRz1RPz0gWWt5pITGRMLJWWY/1VYHPyOXWtSDBDv6svbMu/J7i5/X43fJlVVM+JpkfOMCJdHSdcMsJeBAAT7pyK4D/ASiTW9hUD8WaTBz2zxGHBCwgYDEnB7dsgWsRMNrtiQQODqoWR4yvTrNB212id9zWu/pWS/uAhisbYzprriIHz9N6fEGuMRiejAue4WfOXrS0q4rNyb5fG2uUtVqpGAk9/jcLPlJ40SBFcI5kY8RAsxi/N7iPee0wDqNVuYiZwMjFiN2/4YGkSYPrTfSZfUOGtahzGAzNKjE/lgVaV16Cyb1j0cHWCy0fkmsAPvV9cvPIgsjEM3j8ZA8Xucbjom+Fp41FW6slI2i5mtQQ6P1ZhR57vjqUwN2jtfctpPrImZAVKhbezBRdlfQWWOpPKswGzlIwJ6KDf37c0VS2raY9r7Dq++YWHQrWuRLyfMqfSVA5aiGwCpckxSdHZ5+e/1TZybh86JstzYYVT6Twh4lq2nzLY7K2K1scFvTNn8gLcrQ6EV2MhrUkTA3aovan6MCkjfpb9zVgNrD3wNfY03N+llSMDddPMd96ZNAuyuYgR7e0BhK0qAhV1vnHzhpaEUTfL+TxDa3zMd8+bpJvFacQ6D6G57xuJUSjDiEokLDuRaKDkdw0h10mOHNDX1rwxNHFThKxHpZc60C84lMxqemStNY4aMx22oyOT24T9d0bSVbHx1CKAiExLz6+cEGMxHp80/n/EPIc8Fml4Szsdf0nTuygSHqXA4wUXDWCXr4Qju80PrQ1/6yLnJ/B7MGMqz+lqDMbl0fM0t6CUAHIT9wUVqoD3d58oxszFESCyg4vZgvPEdoSrhPaDMpvJgkjijGYHO5LsuJ6t9EWMbWEqYSzhn52snQOOUw9SSm3JSztR2zWg47dQaanV+cJ0dUGUswqOHi2rNX902zuRSOOh/laZRaQ8MYFX6VUmnI1Nt9EAntbSPlvTy0gR4oAitOr+2Z0wmKffm0d3iAlzcfYTCJ6GphKlvnhqcEBkeKT4tjl56TpV8P3lZ8T4IRDMXVItD3To5xFQCiH0ltiyi3sTlKwrqrKBvnOM6kS1dFjHHbBNHzYhKG4ksb/GszCrDaH8iLbaWZcYvG9CvtCbeVVEvR9M8eP0gKV9u6YV6j6BUHxBww3Mj3U6+6fdh19LxP1YwS6j7ArXWDFTaiDdiab1B19k6pirSY09G6IdXDDG6+5GdnagKR1n2CqhvnSaf2a7du9QtM7D/9VFDxHnHS/snnfd1Q0p91Kn8MULdd5Xhohz4ogN5VRqbFYmocL/vsHYq8WUPFwWd9EShirybZwJfNo43Mv/V0wyk5eU9auqpN6xHg2DsH711tge9Qgm7JHhrZ43HhEyQDq90z4nkPcPVyhLTTkfse6V246QXoFgu4/PKoWnZiUiz53bSBnfKIJo7mJc+7wOSwh/BBOf8DcK5dHAmyFnu/zOJp4An53A53tEMBq2H33+sf2Q3+25AZjHk+IiN8IpQxLr+UlQJOAcSaS+K9DvMiloh1kv/Ic/hUv9luW7jg4cribJdKCLpLFPLS/sbIQ316rKAtPbAJiLnLgKYSc53YfuWcYqPFl+Ki1mpzt+AuL6FFVR6LacNrhvepNGBzHW/NMYnX+ueR6hFB1x5GOx4IoNeZmYz3KJVxIco9OiWm+bnn3b3DvMUgEHRFV9YTjwCE0cKY2fmLV7bFHupTBVfvBuOrKQXZCc6PY3GZADaHucvK4m/wimOhJwu6djiRAOgYb1uOJ8Y7B02sUAIPwtJL0fr1bH79bcLGh5VuDOiZZfMuQyThxRMSWp8IN7xOzzL30EFA1NHwvhXSOrM+eA6A74UUiR4J/E++20kXLop4UmvMXY+J8CK3qpEo6z8xvb1NxQMX3r6DIvaaTfosl/90R+fwS5ip2YTNKvu1VsmKtGzE8jvWgfosxJcFA9+vjGsLHdJD/2zmBLTxB6dsJRzaxoLKWe8dL3DrELviDZnLq1vi6RpkLw54nM7WxeulHA+TSL66ZlBhJ7fFjG9cLlE2IvYvsPvYAlCg6vmpEszHzdknJoQx3EEhcrCem3ov+qDdcOWHJvknF3SQWXoBcu71DTk7JYDClwffNHDTGnfpi4KBbPl4vC4Rf6KlG5gWWGs6GvB8dSHToKz+Rg3XozZjCS59LE1uErsKmAGKwW9lsuFAycSNmRUOURipzNkkG11qCrDoMWsYQs4We4OsK0Ju9Cyd4Eusb0ZL4hx9jjxu6kTxWCYcplydWWaEhpcP2HVDDxYksS5lGswL58BVwRfbvjbW4qXqWdDiXD6es6SonJtor9JFtOHq46S+JnAtaGas6/Wq5WiYELCR+QP0wh9zNcSKCIXKdySjoWp8hIvhWLAv2zikwSF33mtQit1z+uzjAmw7Rqrl26Kmk7le/Vx/UL8KoHJO3hVY+ztKeIau3Ea5t/B0B/sDrjORpvky8caym/FBXHa8iPRYutn4c9ovxRO0Vj7nLOOWlPWXB2uvtFJOfZQTNT5iOTNWeMmtgPMTosHeY+udho76Ql2BIqxGe3kOWfK4vHGkKMhDVOWb4pVApNe9VqJfg9wsSXRVei2pxRHJXmhwAifA9iYT3gz9jDPkloUxgtxc990S/7x2ztdrmjun6OJz0Pin+NlZEEjQsAcL9DIR6qF51ghubo/aG5JEfkyiuUcaFVMluLdEguYXvpx3iM3JmvVknYG29M4eqNUFeTvxLK4I691GPdJRsT66S1w9EPj5QK95pgjlo2vlCXcEOtus4iXONPqtZCdL5nT8Ct0hpr9mOWiLIF4yCROLMmDYLRHC/GGf3MGrzSLVj2519r9dXicdor8JsN+48Ightu/1JVaHfUF4P0JcXZvlzLAT2k88Y1VG44LE7l8A61DOBmhjs3HFNrC6gAPdqFKl+RKTD/C/uqQzR7rhYV/00DInj6GGlDwvAXreetCr4wD6PYxoQNLru2/3QOf+XnEnhJ6mK91tl5PEcrV9IS5MPttHP7s/NXDHn8pQ6UVQEHbaXd5iTwZ1pu0VcgckQygd4/entr95vA6U4btbmYd114dip6r2xKvfdWs22yiL5CNYBDx+nMGUmSOzVjBbpnrj7PVhbimVOzzX8y0pIfyCBl+Y+/CVFh5gqWhiX2H/Z/Th41IcG7xC4UkJRuz5C2rYnfcCGYKqBBLfCh/KX+/2dC0JOFfytWCJaSBebTm2af1EGZTnba3K07yqGVLgiLxdUmmYhquwFTdujys9N83BvCA5T5luuKtAHbg5yPWv4SQauWFr4bFhkJRknYLqrl99vWKlcWgG+cZ/CMmdFrK1tOijjw3P7hmou9npDdwmNPncdTXH5/bqfgjJ/LUl2ID8ZJoFEMOtrkC9MP884pm3/R/E8Xb6avAK9PfPLw0Ifo2AiEpigF7Y5bCfN73s1cNdCfvjdoZ78fFkL1cN1+pfDGQDcRecEax3vCBZnH3yLxIT83Ec1cXg3OedFc+r/1TMlwIGL4+vO2lkHC3JNx39dEawbaJXA8DeTj/NrjWPqoTCegwnZoJHD91lt038gfeKR9fOGSndJ5S0VfZijYftaYxDaI25p03MzqkSOnrKxb4Fd/6KsQZ9JV7gN7J1gobRG6le1cZDaEKO9AU2pdz+fleDt8Mj/fesDCpJ2ndmJBT/s6KPcjZHlXU5Kb4aAIiznOucAHhXU8wioldT7eVsvzfvC9unzPQ9ud0tBfwK9BZYST9uLAVPzQrBDXKzsDJFuD+dqmMKqZVCkatHyBqPqdPTpFqszMMv1+5XdUEVvzZBJoJJKDT1c3fycSPHlBUm87TWtapFvTgK7oyDUEIPPhTRHEl3//ZShoii/2MJlFpdexx6eHWsKnJcqiLfMOBWI8QvsOgTOS4i0p0lKzXl4fzv/0rsuPDBNr75p3aL6uo0QSGYzjTFjF4V+/+GoQiA5RNrGP/2S9LMtPIMds5EzRS7XwhteRPD55W+3la3WaXP/t7mhb8jCf87oCq/OUEsmTWRjOCR/yFy6TGsxbgvyTTP8vtRV8FyhZi9KnJU/8GpKPi6qvqLUAxp6rJwlZCbAgzfm7KUUwiGJhTgS7kuOBqi7itGwpk1jls+OlVgqWYV4RfZ4qyfiWf7/Z6KDxw+7Lw1sfBnUFQPXCe8nia1AF2HF9a1InwqX1Tpa4xnWe8FI52r8QCHIfy3wHgQbmexav21AA709xZPhZddO8x7Cva9MnoL+/vchpHpkTEyWKqibBe94mDaNi6nFSvSIRKV5EPpah+tmQYt+tilHIkoX+EMbntUBFQc7sBO/Mtud+HJm4TD9nTMoMFaObBjvjdQ1ZkR1hyMs3wjO+ZrwViq8uMgKwWbzwiRB4aOp8zrNn40i1IJuEFVsfUhqi/8NItkppSfuSzEs6aU+fhPaTzc91eAK88YelNrdkexoRUTfulF1Sa/D094x1Zh/pE24NBIub0GrSJA5aHgCeQ1n4GocWkEcKmddV1pjl9sKS50FktLLb+iqdbsddh6uIu6rsunsoHXgtS8ec2CQlqYmHtm/TxnfWrx1McC9D+OJArujIC+lejo8KqGKFVUTKUn05IPSSNLCYP4EOkgOizm7rwxWjlNlqZf7QUtQbCd4nFyZq7vYtfEbrvUDnI9MDpa8aDsp2SDENRKqXf8rjpS5+1J15e9SQSjcf0cpk42rBAQ9xUVxq6SW2efVBeEWaqTPgYjtaSzR1TGyLSSglHzj2Gh3Zo7K7kvHFzoAXlyueYxoTuwC5j/fBDtcmt5uH+JzNMRd4llKNhD+k7M1+37rHcI0yqmk1mKoAdo9QNz03/DB3pHpXv92mVvDQaPr2YZj6avUJNM/YiCKAPHmtoTIANZbkyxuG0u0IIBMi4EZF83BD779wFQP9E/5acpzYNU7fHRQbSZQpW56KIeyT07kifYPil0XTD+e1Oi/SC1bvzUtr+3KKwE1nuWke4QP3TIZOLNn22w6uwuyWT6khAZIGRSgsYhTmOBxapdnXH8GW+lbE5KFg7vof3Na2NlmreGXt5j1Woq6PoDBo9xKEAqzOlu2JiFwrRj3zgeIg/rZsrMMsfQRQi1OgjjcTys/oiZAsmGUncaCnG8cO7cwJipa7w8Kz1VyaLKVfCvD2lIyGIZuRL2g2f7kugMUxMpiMbCfbo/3/x2JrfTsTvsFHAZeEQRDh+rB2vK705BxxafDlGgwMgoxKulah+QBB1YdPDiPlEgZGZ6paPsyZaszZhfDhRY2EiCwhE163rlBBK5IzOQ1hp3HuKEn/TGlG+5eM666VQoTXdI6T92szXQwIgO+HMkVUY7oEH5xEAvbNhu61gEd2DtuylC0dfjphZTHNt76sJARERyqtcf4knZSofl7nS7x4RDF80GlHXDJ62F2gwf9nLTBpRkYFFwys9au5nC8rFIcF8iTazcaatVCAy3LpOr5exe5bs8ywQkn5Ojq5LbbX2fgDPdQWuNZJe0d+NwedMUisQeVGMpe6wodxf1f4LvVxJhLLc6Gu1gtUvATyoEM1Ix0PXgC/fj+actFEtt7CsSpUnlrS7VCRtRdlrguOw95h9+iwr55cnagUyLk2LaxK0USH8N729OeYTv2DLjfsMYUbEpbuTcW5a1xAw21MM5xxF65pVEJZS05av8gWALfYY1Zl/sOVVR0D7ZBAY0ZvdB3eQUwEKg2E4mKG0hiZB2aOqo6jhU7K5OFQgP7oD4EgDUkCTPwwM+E6hq+/xDAxIAAoac870gBn6aMI6qLxGx+yKOVkxUZDypC03H8/Ui35PvrGDr8U5N4oHDgR6Z8WUR8sk3FUmxkCNxoRz8IW2d8DJq/fX86eCAj+yaFgS9EhDcpHWomHriUKiQ6UNSwShrVtE3vGMlcRfjP/Dgjbm7v3vsr39SgK+oVwpEWDk5Bhw+8nC4Njd7oZ7Pohz6b/kOGI8P2IlRheMwKuUnncXcXFuoi9K10HVmg6KkxKABfYOy/299gHWQ4pB23tngcUqLoq5ufT5FLayWOiA7uPKO6Ce0bDmCPYV7+DANCan0iubV0PE+dLmOEhBx6Sd5NgIrPnIUaQn4cJga7s0x78ApZPCb+EtueKokZdWj4QZG8VzafTMGLctRF8W5ARz9MoQiw2qoZBrh6Y2eVEbLiBedWVShsm7R3V/Htezhpj7NiKaoPiAcZAlsIm9pyAPDPR2zrbK9W6iZU49b6eH6wMPNGWyUzfezcWk7p2BeIWtoKylLY9uUYHMReuUAzMRjPFXiUB1pDfzQV/ucWigehUJ7EgZ8Ep6woO7yyyPyKgq3N4A14WZWn+qqldRdwIBszBekACyyAAF3M8dNCCDih2oBWCXCIq+/IxEN1NUq3AWNi4eZWe/6TLuvEzwOVBg2HAoN0opIQsuLt1Q6O4Ee72SLQbxXRxwwMwPbv2ZSI36wtXGYMf9ONV91QZOZRu/DfQqV0djpenvor+B6sASmUwGlgcvAg673qF5evwC6+qjWp0a7Nst43fM+Weif42CbbhXyBbwBLYQbIvUitq71LVWLyjLCI9uEq0ugMVogR4eKKzt9LB4BRFsPKp+6Esab1W1vHiOd4hVAaBkCvkTPTFjcYmQtGhXMwmkVi9pPJaxbzadROUlHyQYSXZyGRPC5IdlDtngsTdw6w8ChDGPkElOjM1ow7UVsDf/bgrs6sykiO6GTblRGwbGfg0Ddri2HMCvYnhkmdt4rnbu9v7BrPpZYA3viyNN/ErEgtoGg42j+PQdK45EAgySrj6ViR31kyzmwPOwONEIAknSxtsxU9Oll6CVlsuClmPUKCRuGItfUTgvqOti+Yi18n03acHzr/d2G5jil7IotmnfO0LGA748uU4vqo5safCKsELsaIEvdGQMQYLkZmSpNYByMUKQRlIV8QMGe/5TqJFKtAQOoZdG3Bb11VkTs5YgDRnPUrVCq0+FeLfzYLgZo6KuFanLWYDiRS5CTBP5ETHqd/lJj38EgcFtfjW9OXGvtjyAa8P8zV5rBJ1MjmFraUYtZJgP5DxzMrwAuvI2davcibicRngldU/e5fXfLXq3zdx5/DAKRr47XqBSrE99FEQLB92oBdCHgqG7d3UGqGQVOolo4v3ANlSPV0pkmNzhPCU5XUuKmbdDcMaT6napQE9LzfkKdR1Zw5iH4+24mHM5osGyoJcvo0SHMJihJNPb5PzJNP9ijCiA6WcPnAb1U1mcpd0qc79f3wKx2PqlOoHr/w9kapxW7vRD056ca6IBIiWR2eCBk6dKZ4XPS9SxbAFO1R6FrncUOlD2TKyIH6stBU9sORSQvRJhlgRd6js+HjvlcngECAMdqy/DUSOhL0T7tp4yvusBkV32cl8XIlf6HYUsDk+/IkK2NlH8UttHKfKqLHXTcrQdrc10tTy1KiB553pj3i1Bs7bF7lu+C+3yqCoHUjJSuKPHt8od8NUNuzcbZ4Nj1ezf4a47stwf3vSE+SQZ5HXY5SKaWvFnuYjlSQqgqz8Wdb3BFlUlf94qN9h+OGAf+rgx/VHaJok0u8nquJja69Drstzx9mJbtly3oP/65fq0UqPbacreddYbiJCh3TzGN2ryYaRXHB+S4Fxs2GYDBBdnqKiPEjy5i5Rddxhq31+WyoI/rey+e3IhQ4IqgVd40mqUe0XgOS3IoT7oBc8AcIQzCbuTrCibpN8lpUJ7XdyDtveVU/lt9Xqp67nHvgsOFxX2FQfWn6qqg4GcWbu96pLmd0qXh9wmbkUiXCddfTLtPYQ8dJJT+8P3xqe89O18h6P7bKiItM605SJzxunAD2as6OzZmI+TY0drGrW7wCBDY5Z5U2KMJcYL9+dWyNJcDI9PEj3RMUNT+01Icf9hfHpt3iQ00o34pJTULDMDK/outpGZXSJErIUGKDOonrqn01FtXzOOX+k5IeeYcjwIJas1S8GRfgeHf22VSKo3jgeLuvZ2I3vZpyn8QJ83jAaZPe6TWR6vmRUngeaDAsGCO49s5CJito4TGjRjQXi2rrgc3OOeuGBN52rfSEd9JKmmR426BS7vMP2ogImF9WAKYIi/KWIfirOAyHsF5iO6aVd8gpbvL1a9v17VcawX43J/c8xBGuoAb5BzqBZ0H73+Mzmr9kCziG7A1M0k/7aTuOo67vcmJT9ciGUE19SyE4eg/5aABjQ7iDXz9zjWbIvPdkS84NaEGifNtEtlWgddB1MDTSE7qs4z74BusAxJYdQQhrPupdR/kpDMBDGqFNZxnIDEKz1CACyPrl/oDGbioPgU+86YSxLYTB89tKPLPCGhbzoO6B8wF4pwca7fWHhzNJi8yHzVnHhZTCGETDVg6SELLV7wD/L5j/7jRUdX2kjoGobFXlK03p3VruqntNplsTDXrxhBpxDDjCo4mqXF1m9swezso/MSSplNhrhpq9AQ6ZQjaOiJZ+9xm/VNjavxXPzsFvwlnR4qxdA/i0pkCc1rtVvohAqe2qK0x2T+ru96Vz6E0Z2BJgmOeOJjNBFsl4iiS95QDuhJu9JbdqxoI8rh7SvEXzD0QoQLmqe4rbpeam4YDsJ2v5MoXd7QLSarBJszq8gpmeZCfIvmtTrCU7K/CnwvG+rxCMedsQDB8wj1UoGrSwivb8Oj7+6NaeAVraEBQcYNa2UObYIyTBmrsszGpuhOEmnmHz7Bae7PFNaDpWVuVk0AZJUO1T4PTTUJP1sQjO9nSrUXtrPkRW+zCJJ8QBXs4cATdgs6m1SV7DlALVad2TLrjDFE8j4GKWnTA9DRZtBCRZFtt/SDqsBkPiXbIno19sjOSoS1QahRI28/l0NhQ4wPJSbWmy+FQhEvsUftrm4YX8dNy8To/J3HX82W55nEsqDrLnUZfiV/FQ/1vCUjbr39B4nEenJ9OpZ00Gj39rNo54jifskyp0IjjO/ngNi8/VI0d+MHthznQwPrwJpkQCnNcXA1lXa7G1WaWReY9v5mbZmcPQUTkZaUucfMl+Eia1blvledCW5/OFDBZWQZEaoWDGiiujB9DvDZn/+ILbEonyW/lDjUgShqjlKlEkna5pka7PHD2mnfdfNvMwEBvJ7qzlgryigVsPdlaMmWwpkTxrf0jgQTInxtLUTj2AGxBudiAR5BI/r8E9kPLg0Ee+26Kz1+cvLLBQCK0+KyeIQkRZoLMxyE73U/nCm40LGF9C3oSeGiN2lwziW2Sw9S6Mj1vLdYQ6ZcGp6RgEIkEetz0RkaBF4/4JFFwBSTlEUkT6YGP8fucIJEoD/aLxq98wtVmto8hq5tfVfcCZHj2TNeiVFhN1FUEUk8qGd+vOma6jtRp4gGczcwvoFageyboA5OWqUhFwMpgtemi/TLxFc2T6Rra5yUERvqL4n2LbRC1ZU9Yr1ypRsQKc2U3Jj+mO4yKdZolZw+mhRAbxYd5vxIx4NdX9TnI6YD/52uj3KE2JKknX8SpT3OPZFFGTrNqi+Tw5Qo+QDYS5EJKXj0yxgqLjdzAAweBMdLBwiAU2/YZ20w4LBzCdgdOrbXP3yhoJMZ4ikSea8iur2SEZIX2ixdu3pgG/bYrfpvZUtzdEkHe8V8AzR8b8RVKapMm+SNKxe1qGi6oC4XBQU1nBd+8MiyxKpov+C1jF1kAh8ekEKrS1iDCwQklNtlBDNkZWNIrZStViyWORVXyPedVN7RRC/0cavqQ4dMPr6Ws6g5UqB+IvSok7hSY9eKKniXpY2sOPXQOmIf+Uo8t5q1zL4DLg3iT1RckQ5TLThkiubLzdDzhTMB+V/ysI/GDr7HjYjiFnBeP9cwfYu+grdQfnerrzb3OHs/QrBKZliC9xTCDPbcgNdsdrYMIGuCQQ6MO1TI8R4xn7qkRi6/VaXPN3W4fro35SBOhibW5EcGnN/Vn/3nGMOfBdyDNZkiUHCKRzuW5RGZUb8afzaV5AaZono76B/t/406/rlWs8QQrG8XpAuLYJ+PJ6udRRixswdIGPNfjRvjZMLykhZ0hCbQEQtg2otEUUuNjPoOi5P1NMoR4zAneTwJvf0Hn+u1aSzpgKs+IT5caitvNe3SLG/6mJu62pIfSZSLu336ETVrH9OxWfeZyJvPSmdoTwmshc0YXS4eg1PqeYXWpqJ9iiBhgtyQUgb0jrgiGsIywOZeFybW4rC2G6ZrdlnsCfvUNa8PDrauOPIACfAvU20GzPziVbDeFZjg/oaTh8FQq+3RJSfgeNJfGqEk1jt+AmYSjVLcGWw+6cmknFrapHd7wnPA45DTRbw7Jb05ocxs70MprfHnQKu043BAbkCTcWK5qXsb5z5afbA9WMs/QjiyjE+xwuEoZ2/Gk7tlJobzSHIa1od1sJxw89kSTFHwlanGPBbtsjlc3APq0UJAIBL47D0kWXgfcrk2y0PpAFljVv3+EwORfYDZCxmwFWTEtrswTGyVSTFxLvlHCIf8i5I1fxUPhfc078YoeOFzTwqHh/saLd16iSneVLC+uaV6XjyWtzjkdeCq0ajrBv0n7LZBN2adwuNyUkjEtMqQ0SkfhpUxs8acpIcg0SjKbQH+A7AdzpiqTIj8brbEqkDHEq5o3i/bfHDNIQ1sDJb7cZBmfewDljfHj1qGWTowj/FsHQqxcSal7nkyfxxDpMCbzRVE5k4UanwISlHl5bzWJUJvHYd9ifc4x6ojjzS3La5mRqGJ9H1p6k9LBa8/Oq+0ZOlD8zHZYaimFKvxaEbiCtzZxIdN4CBn4X2sdy5E4Pt4bvQkhPTFUc60a+/pzoYGtF9smEkWI4QTZCm2OVqp8EaclUFttxrUdv1KiwJpRKjLJHgoiqhL1E+o2y1caCvkUpnjPWWFzuykT59//lOcTgYNZDCKVSolbJaN65pfjaQShlliIEMsMXSNxKI/XWvuJYEXnBmmgw2D5Syl+ZcoHGIN1CvpC0WgWD2T/jRsXffD/D109/AiU7FTVvUZqh4xNelEM2MlQkoXmsLOt1fl4VHMJtasJlMi7x+3lCiVppeGsdD3qImeW2fMGrxaUGBZo7Cr/zp/6GS9GkADceHz9NUhamvH+A1bhW2zAyEeegfe0RirhjG8uj9dS3C1p5X1cHl8cKRqHDGuy5JSwGgCOuYuULcSKwWtfUGExD3Kb1IXMDYoTjIYeWoE0Kc8zkrsdmLawt5CcGd9Hq0faJA+3uESka8J2c0wirKFSSi7HEQcx9QASzG4puwzLomK6JMm1r7kuMSut17axRqqghyYLbDHdeqW5mrCAh4Lwhs4f1ELsaIVIqGxIXM0FowzV3aJb0nqiaHdi8blCm4MoZuy3bggEeUqEBG2SrhczaGwSjoj389GVR8ATPetW6nH4KTJaON1ve/GHN2204uhcRwVrPYkrLWujdGZSPHuqd8biyO4S6FTtSi8rQ/hhRWoj0RYAcj974kKzcjgkcbm5N36glYn5NLoHNTZ6d/i73i2zWd4HdmeAMA/eiBRDldMS1mjFyFNgyVB/HStHaDPyE5NW2diUxstaAoT8tUu1L3PprwUcDpcpqxZ3Hwqe/gOZBbvjbJKuV6XfXMuCuXUVna6UMUC9FFNygEnLxQF9mWqWxCijuThDySa5CFcMVzNyTxX/UxIFsCyK+yUul0ZJCNNXsp+qc1YKjvk3aFEa6izo4RJoBtI0G8peqtyDCE7DCAUskC6vw+U9GWw8ykMheuG+lMGzQW6mE4IOP/+Z9bAuTGBpVAtJ9oXAD0KjLnbDlJ0AmcwjmQwaMHqPjR1zJ5yr4h7EP2UshpX6jVowDZaN4vI47sErokZaFst6M7BQSLpzcxbmCRRpy7nDwsUvrg1pxKupVS6deDU8Scer1HjlIQhkurtT56Sq87r0K1n6PLaQdN3Go+3ZzMBVJHBPR9laZO7KdCk/fB7nIyAy/5WuQ50Xp/qWyPUc29ik+/8DBN07EBPSKN5L97cxNrJlkH6/ocyRtNpzz5g5hsJ8r+wx8rEibCNjhasrqmRfwV/Ag4ITTZIaXCwvd0SUPiQm3FRwQ/BC3S4Rygnyo17AOqe4f8dGZ6z8OARHg1OGq219su5wzLMfafEkMVvAcMVplCRrWCqeS0lQNdvE4L4DVhyDSw0YE3if97KXR2pCieibL8Mi/lMqIvxQleaHhfaYHIVlD73mw5QtiuwBufZz07+cEB4OmokEN1fnpn2RjnAS9S9Lh1gPOhMv+rdOYkCx9sMMj8mbRUCWSwWnXDHK99uXL32HcIjcAvBLYz2OAFmOEGHZgEP5k14IXj+jhfT8iEYjJ82nBbO66camT5pywLuDThLJCfdFeDi7F9yyCZoUs0nqmGoUrZTYrgP5zykDPk6WP3061NMcL5ks1df45S05/I3oxekmptTCL8x/ScZvYLBCZZtPaCHEQsvoYGkNDNvQI8EAUHIZdV96SKt12H0heVe2MUNQxHMdQWKvwyFDLlgjSuE4AbwKS59XyWX1+pfKF4OzMk4AY4HukgLjH0/+2Ok0hC0j1qL90DUJkO0USQ6Sy+uqTeAcQ94YfMQIBCJYbMeLBOUx5uE/x9tZBJtHiLkP6D/2GS58gdfAbY/5xtBlNBqc38L7XBxlg+dWF5aoP7u/b8ZwHJzzF5t9dBQDp23/Nu26n0dPvdAu0ySw+fmXxX7qE0ob2XdG6XSXx0lNlGJd1f91htNOVCBraomKEyv39hNXD0y8pgCYM+2NiXTwRPFAVoxDIzM80RS3Tq48/3nE3rY+cGgWjZeFpBOVVfpSu3AEWNYQZWwpCcg6H1YkpF2BMFLdGYPCJuqByyOOYD6y84AY76Eao4Bw5h+uJni5cAonDajqPM5iWrVHOPkMNV2mdGj7VXG45Ch8/0pImhhTkrMR//ZXiQGyJ1HReAFZCoLlpQH0lZ6koD5YTmHdqKzpQeOvKYd7tIAcrEsZ2J+1eazugftZ7Ll5XEXATImDeR01wqPE/ac0NGYyRZvnlPCY74Ljt+qfiq3wPDmaMB1uh2h29yBM90uHmu0xe2ZDrKr5gNfXx0PZtbfVNiSNYMGO8W06riw2ubLZ6iGySlnn/rHbacIJNu+SkSjVtHyYbAnxzABjF1VngIxKp4Yn1wJ3t7eDFaJc0IGFyxKXGnuOjo4NoOAGFhIbXN3DJOCHvdWbHKJSmA/7mPpm0S+ELBTfivPyLOz2EMhqZ7vqIYiUgToeKT9aiX2aJrpE9Lj3wKoxl3Jr2w+pFkJZq9wMnRa2rs/3mBRbfACnRkXVuS6UBE4hrrCkkyOTdSptW9Ec/mkJJWdenKyhQ1TKwh2A0JhQbfNxZwHf8l63or4YuKOC/6Hd7PIjyAen4boKmP9AhKHsvVCXe9UuDCAbZpUfZTKmGMvefWob3VAVmV7gZncINPKrd6xQw11V3yBTW/mDfTER//Pm1+ZGfOMPpzQgW5fRu7UDBzpBrC5/4i7nSyfVyy+Oo4sUiho2DHUP893ZCqVK3sLLGgDhSqHPDVzpt00FpK/CE/Agr1miyefiih5c3wG7XkkCvoBy4w+dowrq4r9i3uqsl2I0dsME/8LH3waJUDN4Emt5Qh2LfK4phfLX6iT2JVbdI5N+iAKS8DNCciQxQoKhGbN3OtLOJcJ5jeoyS84W+2PVhgdTuSpcEvbXLeHNaB4VTSO0SDYwDe84CXGzF8oP7MmsdYDsJ/h/YlWlbcMMQh7p4DxnRHDfcV0vKy3qLHgpiAw2JA2I+a8amFmvvPZwaCEumFExhTTwmJYj6NKrz+bgLubTlDB0CDHsx+l9HifAzd3oyrDv8Awx4U3fqeeXui0IrTWlNnN7RLi/xqExIevl3Ghtrn92GdnYv5IbPmTH9W8lycI0FST/3uqsNvYWnXScZjxFW3iBD18XsRtYubmTdpwX0sERruKOpWyG8PI9dZwYv1RxVKolTOPZr1RvkT/sPd7H4MtxblufUl43zVLLBlQe8i0U3mkLTcfgdkxLIULhXF5sXUoeNUmP6nu/r/MOHTBsaEPmmAlttxDXNH8UPy45Lkpc48WuT6JvlHFZS2jFXoLTN80Bv4bgyg1GoHtRW8EKAmuoG5JFg1X/Wl5YGzuyWRNZfcaDSz2tbe2qyWyPanF233Tj43O+yvYJHY751B2nyGne/HSGOLCS2RT8M4vYrJvXkOhQJ4+xiRrbUigbXGIQEU76xgG9deJXUAp2o00UdnoIWM3dhNbipuJtd7PXEvMsx/yz5IMtgqrR3EySU40ZKjMoThTdASp3ye7RKYgMo2X7F2q/mbeX7P4W81cTW3PJ381R5PATbOkxzTsEqpE+y3m46EmArnDOXBhtnQbLyTGzi3+nXP4+QTH05OA/14WP70F4RclYbsWLP8xrk4IE9BN91tB/754KBHXktUG//8ESYNXILHY+fPWCutvhQ36gtCEYK4Ce1TsdvnCdNxAVyCfVo26uJzz2olZRNMLmhylpQGoiDbQuqgoFz9kesiKTjQ78slXm5EUSWby3VnUpv5jtxDnacyY0CmHpvtQPITqzbc73b7MjhQGDxL+EFPdYeIbo3JPEUn/blKyfyZp0WcckHGV5yEVm14bVw9DOANt1nteLbd6cSYx2gwF68lkJFTD98+OkSUvTbfI8vogYfdHtmOBX5CGm0aMfs0sc8Bt7f4GUCmFKQpfYlkGgErNUN8DkWc5ljf+65rXv8xpF5syduiBcgsmw9BXqEu8HNzyubl/cVQi+euvJ77nBJ09eBQtujNuIMLHs+ZS2vQAJ76F1mTYy/o5fBqeqvpr83Zw3yhbCnXukkIv3TS5FEqr0gcMvypRP2ymleAbzZIlpjzgzJpn7NuDIvD6v8QEJeKItz5d2bHmG8aBPHPUqwKHkhLZwxa55ugMdK3ay6fu6o3cQ4MTlNj2dPjJoFcgKR6KGfSt1WvlyBDQTEIe0sRlpJHHUyjQGG/H32a5Ke0p3BWo1j4HN3W7dlAiAVg+fBSAArWvsVSW/WMp3SQSCLToPDQ3Aw2YyW9wVfcPoLmtn+/VDDCWd8OpzlpwX46yiCzL35boqeE4w5CqAzF8yNHgl7MczQdTe8J/LEQd5vPeTQ9+QUvE0wVZjQX/GcwUCg5p9Djy58tIEr7jIHFOjrra0ZAdTQKqpn4EW34sn+bB5tOH/eWn/uWUA+Pyh5Mthb6E/5Li3cKXZzhHXz8pxQudjwED2WXp3DpsjPwcbLKVWKdeGGTj2Kzn7YIWl7jVhEm9vL/kOfmMqIyivYKUUTscEq2OIejjmKaZbF8mqH+ZN5J7gS5JRMmOJyrL0oiZdjyh+2XBJOmdw2bQcF8ZHE4eXmBzFjAWyZF6aAAaqPk8tvKsVjbZ5SmlSlb4TGZcTWlvmxxNaAm+ULE80AheLH5IxuSw3ZrpjUlK0O/h8BPXUu4dX2Iq1jn7byQa2E+nlUQ+nBjo7C5t9OtFLQ/DoypSwXS/hODr73qJ9ADMC3JqGst3q1PQQXREksTGCYRqSm3OuY5dQ89ewH1AG6Crvk4C4olOEGJ1dd6gad/zk4WH4WJhHoFSMSBRDzOtekKEtCjMjLwCDuhZ2YSgc81tFhI2YRW2OGOe9l/HFAGUieWCB6q/0LGvGQVzhhtD7ltk/fFvGVYgP6AyCVkfqvfCi/m+Zkvv9zufaKfRztXsNwwDVwIX/6CXZqeTKV9qZOfDYo8MBCIzGhMzoW8CUOfvsejM8r2rKsljukNfpVA/eP88MF6cIZ832dWVYnv0DkSFX5G4u+mlnsR/xLmu/4OU6CeFjNWXMMlnTcMdV5TC/U9xNmfy9Ms+nBdVJpIo9SUeYMyStD4nTi1sthXiV1cban1DBXZq6ote257hoQvFbvRSZe8OVPH1jHhzMe6xjg1QGQWruYkTZPl7aYJ6aZPakxN40pEv+AM9NbfY0qsvp5c6kxwI3WAOnq0Otdt36KXQhzwKiWQ+yauSysFW4MgzLuoxRWQnfRvDkSPGsIa7jCRfG+63wMVIzg00IZHARl6b89Htaz29CE+PdA2MsM95oZmvmI2qq8FsUOiUdT6bOqzBRrcawS+6JAXwYXFRj4G38Rkc5PYQSMrLII8GHBglhQ1Jy/PXnuf6T9EiB1wZqlEDfKu9uadkmAz5tsyXl5+KTHNsFLweyffiRszv/TcKHQjoqvb+1xmPION4q8MOolxeYITC/WDZPmRfsCHOYARyVXAnOj2nP7Pk2OkJfXPOKPBxvXwmfNrUfm4i5QkUrw3yxCxxKCkwz45/XrJdOq6b5AVew3/6S1pqwJA4dN6qLiFKFA/kO65kvEL2WTBjIPgGvApRQvGwFhV1nWPbhdH2L1bop79yqZaAyaDSkDw4qt/+Xzk8JSA6IyfqzvatN2oBGnfL4vAmYEW6bfwrgynKHbI+SQWp5DTjjC2hufXpWKS0su5rZFizT1rLeJQYALfuRUbnsN0GIjk96NF+SeLkT89mk3p0wAfvAzSa4RqNOIlVsNo3iwlBYXGFzSh8Hb2fI7N7VVmD9KOivwzBEaj9lWyHjRN4ic9N/5D7Z0v72W+oD0maChPNM0/HVwp06NsTWe12ysdonS6ZpO4ZDLIdvantYYQ4TDfRNCEkuZdc7QzQjP3WzfE0Q72pFjtJ1ZmOcBAFqQebbWzT8grXq4djzfZtda8yxRettWwIk7tu7wuc15OQLAYYJl7QurxJBiCW+qGtg7Qaq6STF459+uJqYITP8GgdRFaNVD24IvsCdHofj/OQpNWS79i7bSn3NhzsNTe7Cyr9dDRzP0wN1Ap9w2iBcZ1Rze5ZZRhV0sgmA9aqjn13jUuCUYjrOsgmIlgL/O2TYpFcfP2lHtqevb41+3raswgaPEIAO7vXjwMBkaAFcKz4V+gk9VlCsmNjNxKPbduzrLrRY99kiIBcxgjl7boGQZ5KKysPfgYoMIA34s9OB2TFErW4XjJYhGOgsgDqhv94Ig4GljLb2C8BhsNdDuJ35nkKAz7PbDC5fdMadLnx6U46U6Idvg0/A+YY7ErSgYRaanVt7PtvGHz8JgkZNKf3H7Ijzcmi/Ng1crmqKepO4tcEBB/rh9a5x8xLZ0J8nn1yRwVWFt0cM6CS/qdzuZUrP2ox326GDoNejg3XAn2vGbP2yp/8a0JmzUG65c1zUIcDRkYEpRwmP3/u36jd25ZokYwGc0yYKiPXQBuefw8x9YbQoZQWK66e63KFD1trWQZCXV/w/Rr67azNw/Y59899huPYGkcdLLM21I2ag9bUPvpVDro0mHU1M1ZOBFVIZCWRnlU2PHCF+naMwVop/FLYqKVweB4DMTe7b6FgpG8VAwkTop8nH23VFZv5J6XKyE4oI+R6kX0IWBb2bjUtUEQeHb9OA8xGTzA3/A7s9h7YACkRJinY2q3uhkUTEKhpEb0bcbszJeNQfZZeS+bt3epWLWG0/qbdHPqNW7jVaINBfvwIrLF1qaMwnc03Cs4IcG8V2uh+O67pYb8OIZonVNCXbLUOnXQX1ZKqfqLzpoWbRv2LFcAStILZ736ZPj1RLoRp811sr+JB5MomNBeNjWCRzj8cNdaR+MXjVTtLNh1F+WxKFiibFkJiSQx33KAZLDcDODR3Wo9x9OAAjg63oEGalU4APAnKi2RP5QMr5yAJPM3l3ImIM4dF0h0EECnbHtdA5SIHnXwxsDmUwxHY1rfxtJBhP8sa34JDoQKNM6YwMvMYrLe5Tq+RhlZ7yDZzaGVAizja0AUNhMUYnAXbr3zUmHWkgoE9iH4HRZJ63Sz6ghiMiIqsceOIujxAXyFw/Kis+iTXzOF6oL8UDEXglPbTtEBZEchnDP1T+LftwXNrcmlIssMlkCS5u+VZ8Cwj5Ru3FauHHsc4ePdfu+1T1jZK0Eide8va6SXx8YCOi0NJWJgeM7CR130j6HK3BEeCqkxt0nZ4j8YfM0THEIK5NW9cy0UYg/rxIKcggEY52ca2y257q1g4SdjlJ9/J+aKv8Ne2xMFUS7HQI7YQi8SDnnX1v5OYE9VfEEAaMQGN2q5Fnm02SIbrzX+eScqC7CkkJETJXv96TarZaTlWpR/chryHBlbPZKdAbHOLATDQCI73jbO6wh93HxtwIpmiPdG3I4SdvYHlxqi6Bylt515yO8v9SMmI0YMkuOW53EBre0VDcxHb7HWtGv35WsgxA5RtGGa424MgLlNafHCbAm3em6cZjVmXg2zTytwKXpDHjWsiI62GCqQNk0IcUFLfqlDlbohdsn1Sh9sTwGQowGwonCSt68TvL7MZV/A8kvdpUcEHGj/vosNUmvSJ0UR4waMpoLWSnwwBQIRcgkpscAVfWJ1UWVJZ6dZQ2sgpfX3wjEpxI2onkCtiZsVlal0vNqUlWKuJmHuvEnKaIuOvRwutsHJdxMOmbsIlTZLiOyP/6yrbCTwvQT+VrF8qFpJ+hivVpSbPRnz2zxSb48RN9vL5oFhrPLe5lmCWpU2IcvqjYHMC+A8SuyfLhW/lUOn+DbNhjUOBN0UDtwgom6J10JcQ8gtGgW9l0YcZEFAs+ogWVa4ZqvaMCM6QXmq6SIEfxzXk9qJ0fm6awEzirKThPms7AMreKqI8sgm5V/s2T0V056dyZH7x5OEhjE3yvKXj3hzyFHcqKWcNxM7niQQL2U5mRJJAsCwGGtzI3ZGJe5rLoX+LepcL7OsX79NRfNmH02ob76rqUUFhsxime3EfZVRX9/uJGrNtWWZtRrIzoqgGl5zbeGbMcB/8L9u/5yDZjnPXnhX5WSJZClYTpTmJoGdoLZsdHQ0fH4mO/Oetlux7WhFkubDIyB/Sq9RQ2dje0sAizr17zATAUG3LcdFqw0PxsEXQtcu6nKKIKIg5YgITPZGW6kGUDk18C4k7qxK0XFUZzHn24di+RcnQXSzmTkCqXvKVaMIgJwecnTM0TDeJkApBbIAo8QvxCM8XUmUNQgqkDgB3fPnMThFc60Pt2nKcsXKPwQrSltAaDVsaN9m2rNnUxkwFcBbbBmWx5XIAyIuwPdOv8TcT8hdV0inMPDCW0KAwtDK6L5FZPX1NsD3FAscm6GgM1WvPge1nETh4F5sdUE4hG1XPGEFMtTuilR4fiwlUulDk5HkvTwDeR5PjvzlDYVu0k5DSMQAv5Qzfz3bAw+3uLxLKcDkgoEZ+yUS9+N42CP1yff8KJl7MzWaFjOIZEV2pCGX3jMy/LIBqKJWcSXZi4vmxXPgmyB+xvwl2dBZDZP/Pz6J0rWePXuXjdr1D9b1EcFLlD+FqqP4CAaoyAjwr+M+M+TUhQ0W+CdD3QMeY+SAu/MPdeDgvfrQYUidmuGUcZslNfZdv53wrGqafjnNb9bHEvDykPniS4yo1hNPlWObGx+RyMuVAwNC+Gq++3BHs71F9qfA2ks1WKxPtYojHndMhu0AymdU4ZydMVdE1FVF5V6uH42HmH0YgfEeF/6fvJykVOKwcGCXr3q2s+1ORRsEuVS3yPiFCeEEGYGmV8IY3XbqCpDgQ2BQphtct3P+0RCqX+rm9tu8CbSGaIct6SUFElTHnEYZytL585QZKuktP1Ngyg4rUl9CtSS34ns53LCdlRViI4+1WBGH/q1t7uJ7zfibnI1Hbw8pij3LLNnfmmrH0s6JnOM7L49DR0wTkNxWm+0VpLDJNfEXSVNsOyWBTCBPVdPC7eNp/nw01OmnO0JbgEHQ9R3Hy5Rgu2p9kGS2M8t4ukoiyDIWkknpMOt2x2T6vMaTTu+/I7fazAatQ92cElezqZTSUqOU9ofp+eIq1WlYSzt42Z4TgFqNouBVXKYb7x7J3tZBi7cq4c51dqvrOIBPC2C66n61+kipxerUusfIFLrOsrYy5HFSl04zhuElXKcd6ISpZwxNapwyKD0jjzy+WQ3JdMJqbEy3eyf88FtfMuZgV0edpbrq1EW2bZllN5AuysZq8h9qfswbF/WfBTazE+ppkLevG2USBh+DPuIHv2L7NogqUUNG3TJcXMY07n86upb03wHKssiwOGX4+z71XwUEqUDzo+8R/4FfsPAXYz6P+aCXxA3f0oorJ+ikEbwHuTyoV4aG5jYcbbNLCiyO24oDjNXKsAj1GXG1A1Q6XkLpcmV+zpWg3Y9SgtAFVJjYjZB99ZDJxF1PeXeBsIM064mjvlkjE57hwGgWtnMKXqTCjVbkreVZSTLPu9e6s4wDzvWXvfnb8WmxQwkbd9ho/bev3RRzU6dyS0Wa8rGF/hjqkA0cIG+KDt8swB7ywU6O3k+4Kd/c2ZRCcz1exe5iCEzqSx5pIdX7YjnZABdeHSyiSH0mwBvM/N3sl2kRyrPGeLYm3iTlyoyyn/JpGE58wpPUvh40Qw3EARKyDx7ooh9t/G8SrL0NeH5ORpVVRQPOLn5pVSAhhH4uZpb4F5BDm7pFk3ezyldED8BnZBlIzCBVrrscL1uA8WfpoaxvVMSPAlH3fB4g2z84XQi3xte3QW8UKJtkxvfL/wEYcdjaHftUWcHC0oVwDRnGXFGXa7UI6tA0+fFUFJliYbYo7dfHcz3yYPGtmKP9rlzoe8SKwaAkuC47+VWMbQyVFHon1+2gXbmc3/YlONXk9rkzP45DdshqZVnYfRk8AK2l8HUW34zkwh2lSkJBSO6aaAjTvlpMbOWWpNKbGCD/YroXPaNjQFoAfLmwgDOj/b8sdTGh3iigQxHKL3BpTs0/k9UjUdsWsX7B0WfAubNuc26k7XqQcJFyvUVyth1nuRug3NoHiKXdtAcwMc2bJ26iDEpwR0locX53SX7a6UWbhtYYxFcgo+gtBeLe1GGUsWkkK4SLDcfBMgJ4Gwo7Jl5ETNYMulmVa/ACxoFAX6nc7f/3rOGvg/+RYi3mmI2LoQ/PSGC5PaU8r5FAy3s91FakbntslW+88Lm7cR9wmuwXPVA/ZzixulhFep8BLJ54MlEy97AGIna1bTr7afjsTW/fDl1Vjycfl8npCPtYtVDrt8q7SoqLE5kMeBQrU9Ru02ETHTMEuYHR1R0tattGHfRyQ4IUE21+lU286vWFAqEFGgOsBpGOQUeO0O79MxHFJ7uIaNwChlY2GZg2hrM4obbRxnSLzN/eZ9nkOz/gB7d0boUdKJevZz2KTdfzRWOsaxkkgJ6RMCTl4DYYOQVOTgnBzq7E8zObCniKGp2WcCubnikhdZpcaIGZPuIh20yrwfgZi2W3jOpFy2DKgNWWGBkY6jAydF4wpuQbu7JFK0X66RYfjT3NGPcB2lzZQASEawc+6S63X5+aMwYPoU2Di2wIoOi/znAtS5Lo4WvueHpAdahOCU6cFQhO5xe9woxMHxuSOSUncvVikY5oD5GPWqXnWIwiqhsF3pjmOrPw/287nJi9GmjRWJQi6Q0+FUdFXamQ9TsmVaYx3tkpe6My+bFLKzgPcN0UfLBSBvBTKwctrb0sIGdy4OTpfYPaOTjfdeLOjtt5+22u7ghama6w055pZ/bOqORzUmBZZ95s90ZTjoy+LTk8TrTOL/8WUFqULxQz0rqaFFN7zBRMeSu+C8KP5WVpcd0DwQPmr0vGJHSSa5J+Lsuy2TMF2Ji3MPmfVAVbZ8ELV9kgQuvyuURT2U57GELLRP1wKEy+bXwXMTDByt7S1DjikViphNrBkanN2LnzMAe74Y1cykK03MyJT9X6PAwN57RzQbqydlHRakU/nI/4kI4TCCB9H5v7qv9Ha9w3qRmhnCuV5sBGdPDFnwAidv97x9/vZs5VVV6yaOZ3Zok61BFN1S4l9M120z6KaaFHq+3kX4nBcKP7RYc44/MoO4FauCUvdaiSogkEDZCfk50HvTrgjGnvzn11f1IkPXuWorfpvWANjN2+m07y97YJcn6m52V1iO+uQb4Ielu40ZtIeHSS+PyF7fj29h8d+/PgcUowf/r3nwRjCnVHGvNS5GK1Q6zegX6dQPiiS7AxNveAKz4Tbdcei+c3GsAlhJaqClE88h4o4rqEH8J96qDEy0toj+odiRXCnQwX84n4mEjAPbNN5vFc6IHXKG7oI4NwrwIWojTdGnBqNVSjubEUiRutyMMf/4NgMSnvX6pUBMjUlTPrR8WxlSDViKvBwl3MK99WNXaRGbSfPVcW66L0OzHLnWDHk1PdOR9c0ofMG8qh2wqN5mJ5r34GOyS/75hX6ZFpFTVwHMeNvdjslr8xaImyAuGu8f2pJGLc6EZAs7aMAyncaHkJ0GPDZuY3REnsmflXhpKHN6M6pnNUInnX/QuwCiHRzsZ0Fytw2Hn0nfZo8GEM/7M9cScCskIZsPfW+lkxOxYTiTFi3DuCVOsHQAseZ6XMksLqhNrv/KpenCJhcvwFyobaN21TcFuLxP9htZ1NO/8ifpYDAB47A/drsi8sq43cj6SH7Ge3JXz1i+CBod/1hh0W1oZB3rOwXydg3lmcOaC8xhB0SUD2tHaX0zglK07qoTKt6tp0tRnZZc0+vDwwgJlOMkPyxCCtWQwaKAXs2GKeWUDxoQwab5rSR55NGMV0UGUOXPJJnRCe93Wjr+vbrX8zOFxif6RrK+K1WRI1apEJf89jQiw9dTPetLtFzJJ8UAkd6fYEVYOJM9aOfeUFJrjZu3/b45kPyF5f6vp8frI8srU974/WGR8BQBduTZ0GGO48m4aOGkqHXkEogHrQ/R2QzLn5PWWVvwQhYJwK0Ft0n5Pm5jKUctIRO3yQ9AmYTQfIvxsJrMz3cmrxlUk1MoV9XhIsihByUiPqQj9VCtZhW5p5p8jInJBA8xIieiuP47Q182T+7cMCe3L0tOmUtakNr08IMu/IbFVee/V56sAgVs+4SKwv9/afIVdGN0CduBw9jRzT8G851yoId82WIa/o/TwuSiJtJuO2Lfe+UO2DoU2nn+nyzVqwQRqS9ZdQIm1MAafotYxVZ1+z1Llf31Jk2qMiHUgilpWAeJh720kwfsTMmr1XONWQrknp+25JVgHducBRtfKrQo5XPcxYV22g79t4fJSLRZYTH926Ly6uSuyEF/Me1VPb34K93PPk+Tvq4upYblmwD78vhkjD+OFxOT9myPpLngg3CeVUfmgBXdTzzLvbzxSMr3IfY7V6OGD9iBDuMGvZaDxY+N1qwx6Kjx6K1rxf6NrJKemcmN1ao4fhPaML9HrqfL5un+63PR4+eoMmU2ztzyZ3Ai1r2dsj4pjiyYD78pZnNi/ykmK2LRAd+dZwXVH4k1DogAKq3UqpG1NPFGvtS183SQFAdezevz+HZiwibm1zb01UrIWdGuhwrB7hUM2GnzYV/WI8SKoIMweI13lGV9Iwdn8Q25gmZzKi3tYpJxlniW4fpBuA0vksWgKQJBdRmCKBiFV1vIxFv2E70PTcXcMvP6kFop3YmeOK0a3i+1fbNpHq92T2ck+U5jxoxfaniV4xWdt96M02hoUvNpgaDTb4qc9d6D55guI8VDPH2uOUi9sgVHg9Gd9FxJL7FAbRNCwbxckJCy9Uj2IwJRnqlXKapnWZUYQIdcvhDUvvBl96oks7oIUOTKwx626OQNjCSIfsa/a4Vtf3GpNmf2SpMWCbSx8Z/B4AEbV4E/mTl2ve+3tRbhSpndJzvGIMW7I1+tc4RaqrMiw/VxYB5zESqlNRRVu49HV6cZSX1j+tdCFvp6vYSSBHvdRsPBpF2VdbXaaUSmVn9gEJ0yTrC2vxzxjBoeIRiSpYWpR7opHN095J+S2qlfkWh/BCgKhUU1Vpnn28r9CSqpHHanU7oxIsRWBNZuNJakjVPMC0k8SgJs9lFR0BXEs2PhHenjmg1mjz8vqoei8q0HNSs0cskaG6WP5F/sCh8UnxN17MD6xnqV84V82KhvNJUc/AsaeuPskC5H/ewayWsz4m4k2m78JxMi2pWTAfI46VAnCtxLi8XXmDGFxYS+pJkNLisxc9sOhfrUmcVn540LDCIFrqFFadLId1PrbV/MXVBbgOAQPdzH+X6koetzRjx3ZELdi9YjI+zBDu/lejIC/P8tHTmgJg1XX6hRydAtRseRlXOoXawbNbNqWL0/ApXssUvytefBF6zBEvmW8ara/ntqRP7Y/P3QM0tr4p7Ad+hUtRTBHV5C1OTL+bDvuQ43qwfERdUV/xr58glX3w6jQxrJoF34G8rYWeszGkDYRSBpIDlUnGShlYjjUIQQxwMUKNkkLylvjaUhXEoO5EtVEMFua5HYs7hSqq3cwPmjPCSboF/6gdlFYsL+WGhD6xnsrycHWmcWN7dl1x7EpE82AzfPS1asBiP15cB6YtnSaJzhZ0sIvaRLFaaro8+Ux5m1s59Js6Q8eMaUrEBAax3qkjey523X+cOHAhhsLu8yvNZ4uK/ODZ9+yR4/ynnOOQOIOt2Vnao5Soo+8o/Is01a4H30E7TMvPJEOJeFG+sA3+D/28oA2CkW5NiLgNvF3/gVT9ccOhagNroLWBkNWDBLO8Mfe3g3g1aYrh11NY7iSp18PRmVlSvqZ0wpLWobpM/dXSI/YdcvrkGid4GlE+R3Sh/mA5yJFdBvQPNUGhExK3G85MvnDpWJLv7bPPqEWz47DipdIcnfrvLXJaLNPRpka9uFV3/j+2OHWUSZQ7svrI7pB92sQ8RL1za+EBh2Hhnz90e4vzT8clGybFOuF2ajLbKnsDWIxL800qJKcM+9A/jblS0s3O2iPVy/HvwWeNP5gOoPOW/QS0RMTKohrMmeldGyf3UErBiTN9rMUYhDKZccv2/5xwJV7NpEh69VZenrleGZwesBpg2OxHmD/uX9p8aglJ4cwUAucR5E3jueXkYbxO2hkyQjNzFdb0HJCObpSHR5eYVM30oagszUTy2hgCpiA9VFZhdWQwTokxxz97PF2bGUl3mJ7anpL8wb9luNF076EjY2JOPQ65CGxz4crJObILctp6FGIpw7Ha7VYuK4jU/g70jBLeitN8SWfucPPV4rMO1XZQK0EXDCu0/bnsI6uEWm+FWYOZc+YHn4X3j6cG4NbFJc1ll8iyBo+B39/8Xs+CZkZ8BT0ci33y2Tw5V/L4gzsxRD+GaQ+SWYyndJHkBQ2OXURK8C/CmcnVn6fxLgGyX99E8aLAOjV7RKYwtC1tmP3BpSAEFZCPYXUyATvUPLslzCX9RIfmAVoMV2x0pPLpQpfteXxFgnQijAj9sdpt6LO6DSkeGdma2cobRHoBoi9y5scYM4nk+GNn50jQH3dNMLopbOTkQxKwWtuGmgwW/W/VZ+BwNOUgdxj2id7vWovJvh2T/aITtMh1eZED0ldWsecxa+IR7sSiCuLS9FWsB8r6Mj5DbYdmYC9/2/OFWbuAUe1Xn4ALB89SKDaY2Gl8dYy+wv/AOiow8elIzjLzXMhad8M7w4L1w3btSS8SRHlcBp1SQOghfupRwsb/w9/aOXHONmahZnlWSElYBqQOaLpsCWpkVYdC8GEx+H9C1Rw5omdURc0g3HXThafU4kGnTDQxN2pOqzdvJrtJy8rYPDJ1kGyX2RSj6/Tq8SWEJoE+anWrkcuEaB8mtHvfAE2NwXbDnrStns3+Port3nJLvhqlXm4XliX9w75HF3oNM9Sf83sqeJV1YOpOuJyzSIdslRzKhvr5i/G9GhdvgaO5qyJH9cc4M+vnzE2Hre3teLmB71jNs+ns4E1ceuQY6QvDb31ad2tFVjqp5im5wyh5pw/yrJTXLnnsVdOsMO6jUEKUOV6D1auFvsVZkGNqLKGZd7vqDEccDwyfVRJ1HzaKjTbkRg0niVP+5eNXrj3Qwk1y9sWr+zF2OiWNk86lQnldZz78RrmmkYDrQJI6cgnVdASK0IevAIYGY8MYmZcSTdGLvnJEqlt07U3rrjECWykJYZj6yje2h3ElIdx5Wa6dyH96wHsFP5vTWBXs37D+QDfN56K49Hp9FBY1nhIbx5xiTNBrMw9QQRB9KwfUJbtNA1eI0By6uk3Di6n7ZDiReJClfOakrdcK+8o94j5NgO/Q7Xtnls5Tcun8wGPFM44ReRhlFiPvaApZ9YaE7LtrytmsRFvDI7YaSdaBeEUrG58TgmXf5xFs1co9uHVchDVrPA459GU67t3RKpyJzFiXByg0wiyaX0YNFptPAvhYn7/KPhG9tiKnhnzVadCm08JV3v+mo6oU5BOnQs81revgdAXhNQfvGr0mprPjBLqQA91IKS8paVZPhAPxT7Re+RmhL2o4YojMW/PCSnXl+BBBZFMUdK41Yizkq+zZ/+2l3NmoSXe4qrATjwSvfml4J+Lu7LBlf9XSZ1nfmDylJFaM4U/qa90mKnKbHck2krPKk9FL2EOcCadBtNVReTJBndO9urcp7xD/J8ivyEJ70lZOraxUJGYgOh2PV83JsiHb/+EFv3wp8IXmPsYUsrATyIUieLaE2loNqDpSUdwcuntqjsvENVWqU3xVwigmPqi2L4VJZei3+rWrcKKnkCnjiqsbl/sJzyn8bIeP0jIt8dTMib15HPhbmQ1AAbZjV8ltB7E9u9mxOYS7G5IxqgXfiZWtKymgmo8fANLu3drUhEiHMBjMRRisHDtcOHPJ+aQkScsEDlQFCBGGul6upGjPgQZei7wGZRyGbqgZF1NuOm4WpnzImPPyoW3RamkyS1hJvSKTOvbNBH/guZqm8JrJeok7dIQ18nBv+auB1WUfpf57plA3ln8GiePsyQINVwe5SCS80EAjBIlpnx9Aco8fYoNDbcoRICgcVQD1/Az6OgwshTrKcjy/pHQeElMPqM80c3Qkp6r6ipRNKVLZUrMGYBuRJ/HHiJoHGX8KrIbx2/UBVxQ8ftfzHRDjzha+79aU5FF1/xPq8wyVxosNW+Pvax8O3klaqeA7e5+mMrwGlv9WtFY2lXa2CfUNp0uZOe7PNH3p8pS80RIKsJVTizkwt6RXRaxxbdLGuwxCsFYCwCnPvdBH6Q7LEAnA25GDetyCfwga5gJgnOtlv91NxR+3RGD6XUNInnELhagnVaP7zi4dqcVeOBt8rFMNmjehcrRD/XEEg2FRWFkGlL7IftDMtq0MOHqHtH1lUQC5nGtebz090ihK0tF7XKwrsUKcbM32lrMcrvwt2gejjB+0Xxu0WU2nap/STC1iqMooVJejmICsRVMeP3UMzV7SzZP8XfF6+0tscouEM6AQYjR5XBoHnASAMW1zJyTAVkaTIkTIhUFtQ0oW8xuGFxatFNPeJNH80gQGfbeFhGim6pqjNYvupJhwq5X7tymNwmqmU3onoeJ0sGj/bidZ/DYC6WBgOn1qjlVsKRwSQY1swtgKcgh4Y73eRd+LhXSPxECvxq4st3GxCtKN0O82iWlsJLjdh1N2HUlJC4JWjXj1GlULwIO+23UYfZGYLZLNyBudHtG6xgXAa8Fy6yROhEohEPktW9euGlscPwXgppUGoVH1MDll+UiERujWdpwBtYyLeHRYehOuQjEFEY2Bmg94HpOc7at6kE6bpj49xDuKQN58ymLjkxbz9gWDGaBRrTRlpNFnUFL79zMWrpI0Dq/n44EnFr1+xm2lHqbodEDo4MEU5RZDdy0CWUHzYjBf/FzC53a+CwPJF5QxDdc4l/B8EtnX/coFnwNEGrz5iGQ/8wRsPHCXs5E7ewUG8ZVR8Il3YYMBAiJ2C9nRZv8K+kDj0ctboOEo61hAMhHdb4hbwWzaNEUNZz/snHGRCM6I+QUY7ELriR87Ahn5s7mz0GRdIGuUHxxdUDwakII1gQRGkvnns6VqyjONuj/QVkQbJgtSqFLqvMzWtp1c/jkc+qHndozP8/e6hp7wowz/u8fCIm1bdwHJoHc3DM4i/mkYvpNKuWBpn5otsjRZQI79iJ/Lj3EepAR50CGfNYoZZMakXgAMdfiVEh1PlOr9cQz7P4Z7OmoQazHaZk4AGq1TIc6gLlJyZb32uRlJWXs/J3jlsIIVXKkT4o26Unx8xigjJUGBDSbsoU0jqpvbUz51dEcyn3NIdCuPTjsZ8QyAF8Dt8oDTPff5NzmmExWdmfJX3BJ5ocWuuSpsoSlkQQQ8pRuCsuyw3FAVm2WSobH1inw2RScnvi2v7JZQqKi1DBD0EyH784WYUMpM14Fi1e5VK4Lkxzehu17VXqo6wfDyIVmlt0UTON/WngFEKXHK1x8osqIveOXDAtkmkFOKXz1ilhTyS9JKYDOnkJyOWxyUyrK8H+SKUnGqC9NGJqzsYDkFdnAM1qjR7kfaa9Adrxe3FmYMAYms+JM7cJutQYdlisL9Jsw2yA8GlkbXK3urkWC5AkQPuwgj65IDIf4HyzQ434tTZrH+8wr7UCsAg6QO5HcAcvdIRdJz7DOdeXqhgjX8PQQoX1wrV8TjnC7nMQsjBjwY9hf/PPgotYnrjloOvjvRMu0KtM3onmgkU+DtOjufgSUHj6eMhyEeSspJYwde/yrlVgXAUUi5vIaNNP5TqtM9uAhL+lXRgDzkGQGVK42gBb8/SgQZyRxvY2/0h7MpK3QmkESi7Dnozs2y7F+lEsHyJfERziUxHnwNE7wl03hJULuie0q1VcSNr+ofg4RssHLBmm2mhpVN+/0MaSJdwcde3JC+NXz9zNgtF7U/lIMShTi0IlyyUlPrfkVQD69oeFjDOXfAZL+UP4G9BxI7F+1L6ZH57k+8R7HwelJmSnUrPzcXjbchx+fy++0Ws9R+zhwzPtz2DGYk5UgGd6On/srx4mQ3ZKr0LfbMJ5dLI/TlQL5+/cd59+wy6JeJoTM+zX3W5CG5jvF3XP+v8lRygwExkA5dC9+gXQWgyk9kNCr1+veWLI396BPTfNK3v1DpeniIspt//JuYANHmilTyfPVG5V8/tNPl8qJuIarLPDDUPCt9wgtVu0mDDvzqpCRL4hOAruwZTNkyy7O8U9qNGqz9jd4IpcmRF0YYTfBkew6/bClGSRcAoCq8qDAn2sZYH5lAkEX7rJXB0Qi0K4WkVPo5lR1scyO/J6rO1quS7MXdixDEb2UPMP9Ldwoy8riOqYPHw6w3x7LjgvpmHugxPdYhQWveqqtzWPrDA9dZdOxWHdwXI5Jh52/RDIimh6HcKFMjJW0hwMbN+1PfWzSkpCwro/lB+7gUg3GYxvyoEH0ZVrjJ7GzNPgVCDDOQBTVSD2AuL/9uEB51G2orSjd6e4NmLn+Tr29f0bTebTVMP4F5x3T5XHkYERxZ8WWcDdD7RyhbuGUuI9KnfSvNI88/+xeNC/saPGAPHFKAcmLoRLmdJRFt6uWgP8GiaYEhBpSjZGXzufeOs5J6JOiNhswUwbcm77HdB1RAFIMpFG9gsdRUgEjMk2qlRn++2hd6gHGWRXqEq6kwK0fSyQOqgMMDzzbi/6VEBxpeBgdbYwVsGU+X5hmc2gWkL+78z3zKDc8z3xwOmICnUFIN8lban+D2B09HXAgh5mbLZGpdImuUpjXUpOqvOkr5CqXd9vfXTprEQb3/eqUDsH6njx8iGU16f9hQSnfeeU9tevEOhE4YltKQ5/eD+lASmsW/aYRkd64Ov3MvQ6h8JbNY/TPK1M0TciLg+iIJBOr8EHtmz3WaoANArjcSKpCW5EdYFjPhT8VAlsZL90MblwPnaFkc8eIHG6K9WckI0ivSWCq8UUWl16N+J174ymkczGjE1vQapaEbhHJrht1NVCs6FgAvvCokTsxmW25CdjBwdE5C57B0A0awTb+2fUkkALE8iPeZzXTnRnba2tKft5LN+0kjq5T+ldzmFJwhSUQq0QLbtSXLBYVOs6ayFpSOGWboim8LtiBnd9pJo9jf+nWCQn9C65spo1KhyRcuagZyZo7h12VJx4aYFuCu6OEU+7ZWCxSCdoIgVHZZ1WE31pVuqbRxjnPLgjhA5SK75mwBRd+Y4NACGXaB6PbRlC5ccxH6VMilwwbopf2H18IRN4IRbIgC+trFYA3CkSaodBOUIoGBB6sLwQfOFhKumNu7GND2Ko4XgsoXb985JMAuC1pcTat+kpexYyrNX/J0VoyG9tqBtU0EMgP4xjoemA+6jDkj/Vtyd9ezZsOzAHpb2CCkjcJa3x0doPcepHrWU1yF5gNgWmyo/dXCNVysSa1EMc8NoeHXXYEBX6HFrOkFVSlPe2kx6ZYuqLpft7jlMM3ycLNZujxyqG3CgCOnvA0UJx8Dg/9VtB5X+En83hHlVbcTK20HI38ih6EUfQ5hoZqjhQIqxbY6cmQy+vvuwO+N/x3nQoCMDQEVPyOzdDLoEFfe2lyU64i/y1IVDWPkDcataplZnFOuqQj31ucOn5SBk3ysAl61n4Dj2r+93riXjlF7Ve/4/lTZzlwwUxJa1bKiQbARLHBkSM3TmsneFPjzBDcT2edtArCmsvAUa48kZ54HSA7JGcjoWV7+y3/aUT/mUsQVLvQqVYHL5HijWx6BExJ8RUGAMBnqMKYapieKtQVAuOngTaJwiArsBEhdy3+ScxM1QtOy8+7AeFQC5cW1Oq6/GA+cMFL15yAa9+wK/0z+MlZWg45QYuWZCJDwwfQFUbQDp9VYPHcHmKtn4JdOG14s0ZG4LeFwN0VNWu0wrnHo87qUNcetHurYwIxHRdYimfBSMGPsr9m3vDwelgLHs85NXPvLGWCwqoqiK7MabQd9SN7iGeltb4fJeijaHnYIb868wpIDMgdluXxpW8a3jmx0007MDkwWgUmbvAGO53ij0KxOUcBYJz+so8/Y5Yfaq4pepKazTFk73FK5/mepAZPru5c10AxjGE5HGUTNshihwcCjy2Rq4vE3BQJ+ryCBGlxc2c8OfuOvuGYKNg7ehvTrZqvvWc7zNOO0mjNJr6yiKdVBjqagMd+Zt6zXukgKP+j5raQhjtpdNlPmwfseEHOdR/92IkthdYlkoeTYEjOhIrh/hCISlw8mU5zpjk0n6Sr2y6tBR6jhNNgTAdm6y/I3ZVboO+QzU0K+LArPXGxdAe3WhupE9QO+pXVvdghCCQRNHkVU48aDpHRWHigWaq6tX8x+s7akzpwq1lyBPsTIU2gSMPgWYzGY1tIdY2kSj+M03fgKhF/Nk1OOY/fTMLyEpG5+o+RXH3oyC6stA+asPHgHCecoUshpKISOcotNPYVCHcn3FkHXbFkmzfUDC7QwwF8TV3v18AcODMXOAk+CMGogX8IDt1vW2DcKHI0P9aR9LEtyUugl4jetBBB2KI9ul6/votkMGIxqLO+7TjappKLrBt9iV/IISPGJ3bbofNTGauzuEZzIcSKSCBgt7Y2Wntz1PAfwcy6Od3VJ7k/xgH9iKPUUhEfNf3z0a/JlsYgdArd4g0EYSCa5MtaaHnnFqO2BD9Q8mDDLsxwlT5A7+Br/7hPk2r+H5dU3npHMzannhrDPpESMqkfr67BLjILS7Q6aMdKK5W3h3wiclXmKxPXEONLtfeKHKWUPSgBQccBPKlNBipgCJOklbZpBegLluO3feeU0qr/giMOpNMN/vB0NPKDmqlvSIbHncdL9RBUW4y9u+tJRmSqxhdu/D3p1QHGi6E5wUk6P46Z+zW3PzjrNh/NXA8AUzoFeLdcQ++5+QY3cncWhiJibdr2mek9RwDU0806WW8fSZ/AMisre5kUN1ai7NoamTIDJuirjzjDO/hqQKE2S3qcn+7yWpjtFs3ezH82tp/Vp27kJNl15VXOKRKMMiFuFUQ6iZIF9vY1gcyrqsGnRQedniuOFVsjb+1jU6H+3ZxroZg57WPOnzgI2wzoJ7iETNAmj0Zn/pXlfd+aw8L0Q1sNJaPIS5Tev45d+17xXHZK7HEQVdbZNR28ij8PVmxBv/5yBQGLH1iGiBb4kf1Pv+rjNRs2ZiyklHZJTNcmnEGfIQUboVZ4LIUBkYdAQqU4/q2VvYs+tVF/26tczUH4rrAWlZT9ZSnms0xlGWbk1VADJS756dMB1RQ4v0DRo535yc1uMCVsHLPwfRwTdyW0H34B4SMeXNRSdgFq7xu5tJL5XkJsM0YFxCWf/ikt/O0MJkNYIsrTuKU8wqNwfFZMVdTdFHLgHDRXi46+WRhPVOHvXH3xkpNyTqc3NQMCSipDsOtzJsxnSfxA7cw59FH0XugWVu70AbtCSDz09yrG0ys+mCLSmE5yOrb07mttnzeILSwRpBOP3DUpb+XQ+aRlXyF3Wq7djwHWup/wAfDoDZd9xyoClHdQ9LFG76cvEjWKj1R2WbnQoorI1X77GmfID983+xS/Lcf8P9C4bVi4n6oFl+MWIm1rRI4/gLT/Zihr/YmH9VGEtWNMQ5C6YY6COK3aVDNPI1HWLURJveGkLvBWu/KOvi802OIafScPheZAnsd2ioCvhgdQcj48NPOy+hCG2+ZOT8p7CnpB8MZq14MpdNGO9QV3wQtW06y5JbjK+uf3JXWAYzi/DtCNGHOuhfF/+sktaCH/5LCEQPRValSZKq/++mhHzmjxDd/UhGxBTE1el7YK6/acRfa9dP2nWa/e2i3gEnQO6Fv9BkS7lC5dpCiotqgjiYvtxUhGDDjJZIOiUSgVFWHb0E7ayPDnxz016K736B0gg8FbKVvq58YATPgTMCK7f0LEXrI7lrzLxLTsKLLqiXdzk2Y64L6WVUtq4GXu/8Mjzc3EZC4hjpC2Q5eHIKJ/1BeqB3cg5VrBw+ukpKFVn9l77RfZjg04+seeNwtmGiU83au/WDwcBzJP74bTNstBLxLxd7zbP8sgM0yqd06MSytfHe6rYNYU13Q11qsE1B7fhjCemky/EAHiDzRY92KTQp5q4cODhZuynwQeOuMtNWK2KzjAJoQu7AqtlGzuXChmq6dtF2BRVTKP9fhXiA3OkcVNXMK0KIMYmln+3Mvp9swOAPGiIZ2HDcJ5nY8qdax3XiOPRFylqd+b5Ustv8ZGFD3gUF2kYj4YO+1yaP8PbGbBoKp70OiXZmDXAbnjYXB101IXtqWfh+uwjZPzWOxMSwhO0ZSX0mqQ1uBDYQw8y+k9ji81oHZrBfU2MTFLwxc3HVnZonJxuPycQWpxr/aIZ1KZFl21hyIBf5nlJ3Rdhr0VeH5SgBirI99td/wzVZh4NXsxbTgHgfq2PmcQFlZcNZ+6qdWms17Chdrv7X2CMQF55FQfKLX/Sp433g0dmoA5Wuar1g+4Rd1S4S13RIqQBOyqBy2c3zkUHDWUpC3BM6+23I0b90Cm9sdfAygnS1nihC0OF/xtxWIsyetFibu/RUt+9gPWxSxv7qBwPdZt+Er87+z5y4K+ZpqvVbHaOVxdL05VB/HDXBdt7UvhfSdm7Mt2o2EkBsE23iyJqq5BkTW1cEBi5lnMZeH+8ryoUfg7jF/YMOyVwqrbU5oPIh43tCZTGdLxk/uME8XcHEdnetRrL/kj0GoOFxTEmQVqDhpO0c9mg6YZ2+N6iWYCpMv1BMaG1DC88EbXwc2lh1CRSP7qbb+L2N5V8MaxWcNfzVtTPStt0tUNfhAQEKfJg9mF8lFsDxhv9Vlo908rKKmh/tvW3WEuvfzf624IxYrKmkfCNWDEWPa36k66RGTl0P0K/moWb9+2o+cAh3f3VyJqsmAVvWeVWj3bbuXL575D6qgArT+hS5MWx0kjM14mHgbYssi8hEQg9QLHb84A1Vot/A9SZY5SDcbIZvIHkxjyY0XgMxLU98Uj4DdzDPKUpa1/VdPr4bc3WQLNzfHjV9retjdNNhg4KxZLKxfK+a5WxtZFUF3yvBHSfPa43+gAiz4S/b97U3DlETL1QmYvxAK4HVunBtPZpO08UOFeXsBXoyNkDmzNuc2k9/ThBkoZ/W437tcHAAAf5EgVGUDay+cnew/zCLHdj+Cdo/uCPnth4tSSpPvtwlh73pl6YwgC4xUm2QcgiHEywy7PnSZxbYSiPzBRzPC7InjvAN4y7+Cue82Qv/WesxhQdlEJ7HLnkX46OM4cgtqSxOARetmpyTnwx8A6JHtrhX49YEgRmUM3eIwSvLoZ06h69n+JeuoGKOfEhP/xsCeQm/0EcE+a28x7gByfL9nEbANL7h2UfT9bcvO+6B+P+pPyqVjS82spuR0Db2yyv0lIYa/26lpmOrAqU4g5Y573i9zUuEoMiCJjKa28egecnSVO5Na3JNxFardUJe2YGReWRXCkgx0YX6LD8DXLljggyEFy+b27zIs715wjWWqZ0fcA6DePAHyLH+HbUzHDVXZBTm4yCwzOIJB6+xBXOgChfG92YsfdOkmMMPUH/TR470zfi775OR3Kh1IgHCmQz9vdu4vKCBukAxq48ieweWm0w6SokXB2odH6kE4tqR6NrPIJOvyM7+WVrPCZ3z6jhnGo6854XImUNKvhOuCrDs6joP+VLGvU3ebKyTVKR0IBud4+VJGjt93ZdhkbT2AYu1TdM7i1UqAVB2vdT3xjZ3ePh8WVLUrobPrTsogGMr2oZlqhjIyvkVTWavI3eCWMkoFMDcA0ZnRQEBWOs0IhNsLsfiAtuepQ+peTd5ctN7kg88EIG4CYl7HiiBQ8O0LeTwVbWjtg5jXIEW1iyLc0NdaYmhMaM7RiXz7b3JXRNV4979z59RayCvXcH5rimEzDJXB1BCm8f8L/c0az+VcgMDb+h2qkGb+4Nl2PeXs6IdJsVkFmSiE9uhb52+zNdeCuFfhtnhx8KcWsDPhGTkJe431GWze5sQx3M9RdbD696sHV9TrM11uU2OeVRHoz4/qyz3EoZy2/XfC5M0CibJF9zifxQ8kvoUvFQ0Py0j57lNFXs90NhkPKByPcP1lQHluotAPOFzA2jsKghMWQQIHOxgsrRc8Yl0cNxbXRo+ghGqD6z9vGcxpoxg6UDe6E/7zehuSf7s8r4mx9OmBF86EZ/TgRR7qZfon0Wcyio8TSXsQq8ZoIOgT7FeGNhYXQBZjNg8t+VwPgJS3xpUFXwIOTsHn1BMsO4aoZxaCgnDS8YPHpHXmqjlhjxrVQYSlYX2jMRGGlmNFyrULjdUblfKkhxcTM9l6CWGBepyAPWEFtiyUlg2WGzaSzKYK5/rx5Ns58wgq8rGYwLtbzfy5/f5mCeGJCQ9hEAxXtsOawA1haUA8Aga6hP0I+0nRHytLoTxXijttdfPVde3vAcdtms9zaF6cKIVuxoMnBE+KBmI/ykNRgrtyWaBfADiWNLtypHuO9Yq+KgEb0jjxnuSxrWOW65+CxEDinkZUIjgL+S5PCqiUTiu+hvs3DDbTTfKV1SMXBb/AuhUfEtapVtJws/2KTLf6TXVRvPi0jYw+ep04Pv/EMuy6WrAVfmwuPD40ZqqXLgzCIPorWZDFeZ6CFNreDN4kyAILpjQf32x46fEcWmTTFp/gSHabxxD/BoY/JwBWLn4PwmkaMHmXXA8mw63Weq4q+gYibeJtqN91frwKzMbfkFuwhHbnjRQI7c/HaK8ldQizjpRTdIp2MkKdNroaiRf6i6qAogcNy55VBs0RtLsnWoGEYtWZ/ZOp5/JOaaTNbk4VyouxwThKCXzozJoYQ7cCMxryihQyMILdaivzxaktOOWUomqDkzjq9ltZFZhckx1RUb8mH++UAJEHhPzqqnWrkQizF7UyCcMWCjQHlLb69P5eCRLYAAwLKYv+g9L0uGGzxRl4diX96YGzRxCs/zlTxOQENYDNbkKtmXjiBIuZEZl07oOBqypjoyk4rmRh3mN9M5djVACWmHcha5ShtQr16YMwInHjDZMTjxwpY1nR4YxPn/7F0JDTbcbqG5/c8VKTKAkne6Qbd15jJ/45ueL0nbZROj2Lp4Z4tD9eM8JtwocXu9eHYNB6TPWAd8ChjirxRuPKrjrpkXeUVpwLqUNQuBhh2RV2LaIN0Gc1rqwRNuiWExDQT/taiILqU5zs95lQnhDxN6mIHmjBGn6WPSdlljhpS6CosQM5Cc59PlaW3iPACk0i1qUOq2g3oXD/IsJZab7TlQwikHXed8LKgf+WEzxAXf2iAdclv597yXgmYTnAKUwtx/z37B9xQtTUsICaX2EAmjrTegAYrjubjJJAcirIsXNRhJv74YfRn46EVhgPYLJckohWyOK5Ec7wXTUX99suFFW0T9SRXDfCaxl5DhnOlNrfaFDZFMv1bgaGrr1WcvEcsdYdzttZhW1p7HQ1XPGkKfvGEAo4EPrdD8rYnbFMkG2JNyT1sJS8D5UvEP6jukjZ0kkrZklqZCIi4fHLM+FDdR8uhwQGJlzyMTLkfl5DmAMcObcPTaWJa2nwnUJo0y2jbX2uiwPUqW290vFKLWcdPJ"/>
  <p:tag name="MEKKOXMLTAGS" val="1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Clarity">
  <a:themeElements>
    <a:clrScheme name="Clarity">
      <a:dk1>
        <a:srgbClr val="292934"/>
      </a:dk1>
      <a:lt1>
        <a:srgbClr val="FFFFFF"/>
      </a:lt1>
      <a:dk2>
        <a:srgbClr val="D2533C"/>
      </a:dk2>
      <a:lt2>
        <a:srgbClr val="F3F2DC"/>
      </a:lt2>
      <a:accent1>
        <a:srgbClr val="93A299"/>
      </a:accent1>
      <a:accent2>
        <a:srgbClr val="AD8F67"/>
      </a:accent2>
      <a:accent3>
        <a:srgbClr val="726056"/>
      </a:accent3>
      <a:accent4>
        <a:srgbClr val="4C5A6A"/>
      </a:accent4>
      <a:accent5>
        <a:srgbClr val="808DA0"/>
      </a:accent5>
      <a:accent6>
        <a:srgbClr val="79463D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85000"/>
                <a:satMod val="180000"/>
              </a:schemeClr>
            </a:gs>
            <a:gs pos="40000">
              <a:schemeClr val="phClr">
                <a:tint val="95000"/>
                <a:shade val="85000"/>
                <a:satMod val="150000"/>
              </a:schemeClr>
            </a:gs>
            <a:gs pos="100000">
              <a:schemeClr val="phClr">
                <a:shade val="45000"/>
                <a:satMod val="200000"/>
              </a:schemeClr>
            </a:gs>
          </a:gsLst>
          <a:lin ang="5400000" scaled="0"/>
        </a:gradFill>
        <a:blipFill rotWithShape="1">
          <a:blip xmlns:r="http://schemas.openxmlformats.org/officeDocument/2006/relationships" r:embed="rId1">
            <a:duotone>
              <a:schemeClr val="phClr">
                <a:shade val="55000"/>
              </a:schemeClr>
              <a:schemeClr val="phClr">
                <a:tint val="97000"/>
                <a:satMod val="95000"/>
              </a:schemeClr>
            </a:duotone>
          </a:blip>
          <a:tile tx="0" ty="0" sx="70000" sy="70000" flip="none" algn="tl"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ekko Graphics Presentation Template.pptx" id="{F784860D-932B-4C5D-A645-0E3B722ADAC2}" vid="{6332FCFF-3B5C-4C62-99D0-81A6FDC7EDC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09630444F605947AF1BA8DDCB5ED808" ma:contentTypeVersion="12" ma:contentTypeDescription="Create a new document." ma:contentTypeScope="" ma:versionID="5997a4e4a2a8f41c434bca1a2a042d9c">
  <xsd:schema xmlns:xsd="http://www.w3.org/2001/XMLSchema" xmlns:xs="http://www.w3.org/2001/XMLSchema" xmlns:p="http://schemas.microsoft.com/office/2006/metadata/properties" xmlns:ns3="2ba1fd62-6dd1-424d-95ad-fb58ae518d27" xmlns:ns4="dfbf8f91-f7a4-4ef6-9c30-a1937c0a9a36" targetNamespace="http://schemas.microsoft.com/office/2006/metadata/properties" ma:root="true" ma:fieldsID="04ada9926c6a5a75bb8f644235a24a87" ns3:_="" ns4:_="">
    <xsd:import namespace="2ba1fd62-6dd1-424d-95ad-fb58ae518d27"/>
    <xsd:import namespace="dfbf8f91-f7a4-4ef6-9c30-a1937c0a9a36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OCR" minOccurs="0"/>
                <xsd:element ref="ns4:MediaServiceEventHashCode" minOccurs="0"/>
                <xsd:element ref="ns4:MediaServiceGenerationTime" minOccurs="0"/>
                <xsd:element ref="ns4:MediaServiceAutoKeyPoints" minOccurs="0"/>
                <xsd:element ref="ns4:MediaServiceKeyPoints" minOccurs="0"/>
                <xsd:element ref="ns4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ba1fd62-6dd1-424d-95ad-fb58ae518d27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description="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fbf8f91-f7a4-4ef6-9c30-a1937c0a9a3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MediaServiceAutoTags" ma:internalName="MediaServiceAutoTags" ma:readOnly="true">
      <xsd:simpleType>
        <xsd:restriction base="dms:Text"/>
      </xsd:simpleType>
    </xsd:element>
    <xsd:element name="MediaServiceOCR" ma:index="14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9" nillable="true" ma:displayName="MediaServiceDateTaken" ma:hidden="true" ma:internalName="MediaServiceDateTake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913CAC9-946D-443F-93FD-8125348F173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C938A6D-6F5A-42A5-98C0-B80A54977D40}">
  <ds:schemaRefs>
    <ds:schemaRef ds:uri="http://schemas.microsoft.com/office/infopath/2007/PartnerControls"/>
    <ds:schemaRef ds:uri="http://purl.org/dc/terms/"/>
    <ds:schemaRef ds:uri="http://schemas.microsoft.com/office/2006/metadata/properties"/>
    <ds:schemaRef ds:uri="http://schemas.microsoft.com/office/2006/documentManagement/types"/>
    <ds:schemaRef ds:uri="http://purl.org/dc/elements/1.1/"/>
    <ds:schemaRef ds:uri="http://schemas.openxmlformats.org/package/2006/metadata/core-properties"/>
    <ds:schemaRef ds:uri="dfbf8f91-f7a4-4ef6-9c30-a1937c0a9a36"/>
    <ds:schemaRef ds:uri="2ba1fd62-6dd1-424d-95ad-fb58ae518d27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3B81E76D-33D4-46C3-A6FA-34087495CDD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ba1fd62-6dd1-424d-95ad-fb58ae518d27"/>
    <ds:schemaRef ds:uri="dfbf8f91-f7a4-4ef6-9c30-a1937c0a9a3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44691</TotalTime>
  <Words>47</Words>
  <Application>Microsoft Office PowerPoint</Application>
  <PresentationFormat>On-screen Show (4:3)</PresentationFormat>
  <Paragraphs>4</Paragraphs>
  <Slides>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Century Gothic</vt:lpstr>
      <vt:lpstr>Arial</vt:lpstr>
      <vt:lpstr>Calibri</vt:lpstr>
      <vt:lpstr>Clarity</vt:lpstr>
      <vt:lpstr>Online Dating Profile</vt:lpstr>
    </vt:vector>
  </TitlesOfParts>
  <Company>Mekko Graphic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avid Goldstein</dc:creator>
  <cp:lastModifiedBy>David Goldstein</cp:lastModifiedBy>
  <cp:revision>255</cp:revision>
  <cp:lastPrinted>2019-04-10T18:52:28Z</cp:lastPrinted>
  <dcterms:created xsi:type="dcterms:W3CDTF">2014-11-08T22:34:19Z</dcterms:created>
  <dcterms:modified xsi:type="dcterms:W3CDTF">2020-03-12T17:38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09630444F605947AF1BA8DDCB5ED808</vt:lpwstr>
  </property>
</Properties>
</file>